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heme/themeOverride2.xml" ContentType="application/vnd.openxmlformats-officedocument.themeOverride+xml"/>
  <Override PartName="/ppt/tags/tag11.xml" ContentType="application/vnd.openxmlformats-officedocument.presentationml.tags+xml"/>
  <Override PartName="/ppt/theme/themeOverride3.xml" ContentType="application/vnd.openxmlformats-officedocument.themeOverride+xml"/>
  <Override PartName="/ppt/tags/tag12.xml" ContentType="application/vnd.openxmlformats-officedocument.presentationml.tags+xml"/>
  <Override PartName="/ppt/theme/themeOverride4.xml" ContentType="application/vnd.openxmlformats-officedocument.themeOverride+xml"/>
  <Override PartName="/ppt/tags/tag13.xml" ContentType="application/vnd.openxmlformats-officedocument.presentationml.tags+xml"/>
  <Override PartName="/ppt/theme/themeOverride5.xml" ContentType="application/vnd.openxmlformats-officedocument.themeOverride+xml"/>
  <Override PartName="/ppt/tags/tag14.xml" ContentType="application/vnd.openxmlformats-officedocument.presentationml.tags+xml"/>
  <Override PartName="/ppt/theme/themeOverride6.xml" ContentType="application/vnd.openxmlformats-officedocument.themeOverride+xml"/>
  <Override PartName="/ppt/tags/tag15.xml" ContentType="application/vnd.openxmlformats-officedocument.presentationml.tags+xml"/>
  <Override PartName="/ppt/theme/themeOverride7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8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9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10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Override11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Override12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13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Override14.xml" ContentType="application/vnd.openxmlformats-officedocument.themeOverride+xml"/>
  <Override PartName="/ppt/tags/tag41.xml" ContentType="application/vnd.openxmlformats-officedocument.presentationml.tags+xml"/>
  <Override PartName="/ppt/theme/themeOverride15.xml" ContentType="application/vnd.openxmlformats-officedocument.themeOverride+xml"/>
  <Override PartName="/ppt/tags/tag42.xml" ContentType="application/vnd.openxmlformats-officedocument.presentationml.tags+xml"/>
  <Override PartName="/ppt/theme/themeOverride16.xml" ContentType="application/vnd.openxmlformats-officedocument.themeOverride+xml"/>
  <Override PartName="/ppt/tags/tag43.xml" ContentType="application/vnd.openxmlformats-officedocument.presentationml.tags+xml"/>
  <Override PartName="/ppt/theme/themeOverride17.xml" ContentType="application/vnd.openxmlformats-officedocument.themeOverride+xml"/>
  <Override PartName="/ppt/tags/tag44.xml" ContentType="application/vnd.openxmlformats-officedocument.presentationml.tags+xml"/>
  <Override PartName="/ppt/theme/themeOverride18.xml" ContentType="application/vnd.openxmlformats-officedocument.themeOverride+xml"/>
  <Override PartName="/ppt/tags/tag45.xml" ContentType="application/vnd.openxmlformats-officedocument.presentationml.tags+xml"/>
  <Override PartName="/ppt/theme/themeOverride19.xml" ContentType="application/vnd.openxmlformats-officedocument.themeOverride+xml"/>
  <Override PartName="/ppt/tags/tag46.xml" ContentType="application/vnd.openxmlformats-officedocument.presentationml.tags+xml"/>
  <Override PartName="/ppt/theme/themeOverride20.xml" ContentType="application/vnd.openxmlformats-officedocument.themeOverr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Override21.xml" ContentType="application/vnd.openxmlformats-officedocument.themeOverr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Override22.xml" ContentType="application/vnd.openxmlformats-officedocument.themeOverr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Override23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Override24.xml" ContentType="application/vnd.openxmlformats-officedocument.themeOverr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25.xml" ContentType="application/vnd.openxmlformats-officedocument.themeOverride+xml"/>
  <Override PartName="/ppt/tags/tag59.xml" ContentType="application/vnd.openxmlformats-officedocument.presentationml.tags+xml"/>
  <Override PartName="/ppt/theme/themeOverride26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27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Override28.xml" ContentType="application/vnd.openxmlformats-officedocument.themeOverride+xml"/>
  <Override PartName="/ppt/tags/tag67.xml" ContentType="application/vnd.openxmlformats-officedocument.presentationml.tags+xml"/>
  <Override PartName="/ppt/theme/themeOverride29.xml" ContentType="application/vnd.openxmlformats-officedocument.themeOverride+xml"/>
  <Override PartName="/ppt/tags/tag68.xml" ContentType="application/vnd.openxmlformats-officedocument.presentationml.tags+xml"/>
  <Override PartName="/ppt/theme/themeOverride30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Override31.xml" ContentType="application/vnd.openxmlformats-officedocument.themeOverride+xml"/>
  <Override PartName="/ppt/tags/tag74.xml" ContentType="application/vnd.openxmlformats-officedocument.presentationml.tags+xml"/>
  <Override PartName="/ppt/theme/themeOverride32.xml" ContentType="application/vnd.openxmlformats-officedocument.themeOverride+xml"/>
  <Override PartName="/ppt/tags/tag75.xml" ContentType="application/vnd.openxmlformats-officedocument.presentationml.tags+xml"/>
  <Override PartName="/ppt/theme/theme2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3.xml" ContentType="application/vnd.openxmlformats-officedocument.presentationml.notesSlide+xml"/>
  <Override PartName="/ppt/tags/tag92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5"/>
  </p:sldMasterIdLst>
  <p:notesMasterIdLst>
    <p:notesMasterId r:id="rId12"/>
  </p:notesMasterIdLst>
  <p:sldIdLst>
    <p:sldId id="257" r:id="rId6"/>
    <p:sldId id="259" r:id="rId7"/>
    <p:sldId id="274" r:id="rId8"/>
    <p:sldId id="261" r:id="rId9"/>
    <p:sldId id="2147483647" r:id="rId10"/>
    <p:sldId id="343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2D050"/>
    <a:srgbClr val="00B050"/>
    <a:srgbClr val="1A5BA7"/>
    <a:srgbClr val="457AB8"/>
    <a:srgbClr val="FFFFFF"/>
    <a:srgbClr val="F2F2F2"/>
    <a:srgbClr val="264E87"/>
    <a:srgbClr val="6CD0A0"/>
    <a:srgbClr val="DA2131"/>
    <a:srgbClr val="BCE5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4C1B76-3236-4A62-9BE9-DF4E7CEDA46E}" v="543" dt="2025-03-27T17:06:54.8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3" d="100"/>
          <a:sy n="93" d="100"/>
        </p:scale>
        <p:origin x="102" y="1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seph, Tyler" userId="d95ade4d-0576-43d0-bb19-3f7a19f59750" providerId="ADAL" clId="{754C1B76-3236-4A62-9BE9-DF4E7CEDA46E}"/>
    <pc:docChg chg="undo custSel addSld delSld modSld sldOrd delMainMaster">
      <pc:chgData name="Joseph, Tyler" userId="d95ade4d-0576-43d0-bb19-3f7a19f59750" providerId="ADAL" clId="{754C1B76-3236-4A62-9BE9-DF4E7CEDA46E}" dt="2025-03-27T17:12:25.463" v="3229" actId="478"/>
      <pc:docMkLst>
        <pc:docMk/>
      </pc:docMkLst>
      <pc:sldChg chg="addSp delSp modSp new del mod">
        <pc:chgData name="Joseph, Tyler" userId="d95ade4d-0576-43d0-bb19-3f7a19f59750" providerId="ADAL" clId="{754C1B76-3236-4A62-9BE9-DF4E7CEDA46E}" dt="2025-03-27T16:19:36.084" v="1998" actId="47"/>
        <pc:sldMkLst>
          <pc:docMk/>
          <pc:sldMk cId="1151559955" sldId="256"/>
        </pc:sldMkLst>
        <pc:spChg chg="mod">
          <ac:chgData name="Joseph, Tyler" userId="d95ade4d-0576-43d0-bb19-3f7a19f59750" providerId="ADAL" clId="{754C1B76-3236-4A62-9BE9-DF4E7CEDA46E}" dt="2025-03-27T16:19:12.307" v="1892" actId="948"/>
          <ac:spMkLst>
            <pc:docMk/>
            <pc:sldMk cId="1151559955" sldId="256"/>
            <ac:spMk id="2" creationId="{1B715D47-4989-57CE-EA94-34FB7C75829D}"/>
          </ac:spMkLst>
        </pc:spChg>
        <pc:spChg chg="add mod">
          <ac:chgData name="Joseph, Tyler" userId="d95ade4d-0576-43d0-bb19-3f7a19f59750" providerId="ADAL" clId="{754C1B76-3236-4A62-9BE9-DF4E7CEDA46E}" dt="2025-03-27T16:17:12.270" v="1459" actId="1076"/>
          <ac:spMkLst>
            <pc:docMk/>
            <pc:sldMk cId="1151559955" sldId="256"/>
            <ac:spMk id="4" creationId="{515CEB6C-36A3-A146-6604-4A005A56DD88}"/>
          </ac:spMkLst>
        </pc:spChg>
        <pc:spChg chg="add del mod modVis">
          <ac:chgData name="Joseph, Tyler" userId="d95ade4d-0576-43d0-bb19-3f7a19f59750" providerId="ADAL" clId="{754C1B76-3236-4A62-9BE9-DF4E7CEDA46E}" dt="2025-03-27T16:17:29.589" v="1585"/>
          <ac:spMkLst>
            <pc:docMk/>
            <pc:sldMk cId="1151559955" sldId="256"/>
            <ac:spMk id="5" creationId="{8816138B-B159-3B0B-32B2-FB2338FB0500}"/>
          </ac:spMkLst>
        </pc:spChg>
        <pc:spChg chg="add del mod modVis">
          <ac:chgData name="Joseph, Tyler" userId="d95ade4d-0576-43d0-bb19-3f7a19f59750" providerId="ADAL" clId="{754C1B76-3236-4A62-9BE9-DF4E7CEDA46E}" dt="2025-03-27T16:17:34.520" v="1628"/>
          <ac:spMkLst>
            <pc:docMk/>
            <pc:sldMk cId="1151559955" sldId="256"/>
            <ac:spMk id="7" creationId="{1C4507C0-A8A6-6870-75D6-E90F8E009A17}"/>
          </ac:spMkLst>
        </pc:spChg>
        <pc:spChg chg="add del mod modVis">
          <ac:chgData name="Joseph, Tyler" userId="d95ade4d-0576-43d0-bb19-3f7a19f59750" providerId="ADAL" clId="{754C1B76-3236-4A62-9BE9-DF4E7CEDA46E}" dt="2025-03-27T16:17:35.710" v="1657"/>
          <ac:spMkLst>
            <pc:docMk/>
            <pc:sldMk cId="1151559955" sldId="256"/>
            <ac:spMk id="8" creationId="{724934CB-918C-F098-2A07-5E1B353B6B4D}"/>
          </ac:spMkLst>
        </pc:spChg>
        <pc:spChg chg="add del mod modVis">
          <ac:chgData name="Joseph, Tyler" userId="d95ade4d-0576-43d0-bb19-3f7a19f59750" providerId="ADAL" clId="{754C1B76-3236-4A62-9BE9-DF4E7CEDA46E}" dt="2025-03-27T16:17:43.300" v="1726"/>
          <ac:spMkLst>
            <pc:docMk/>
            <pc:sldMk cId="1151559955" sldId="256"/>
            <ac:spMk id="9" creationId="{33B1E1A8-9D15-1F74-DBC5-0251446441F3}"/>
          </ac:spMkLst>
        </pc:spChg>
        <pc:spChg chg="add del mod modVis">
          <ac:chgData name="Joseph, Tyler" userId="d95ade4d-0576-43d0-bb19-3f7a19f59750" providerId="ADAL" clId="{754C1B76-3236-4A62-9BE9-DF4E7CEDA46E}" dt="2025-03-27T16:17:43.880" v="1752"/>
          <ac:spMkLst>
            <pc:docMk/>
            <pc:sldMk cId="1151559955" sldId="256"/>
            <ac:spMk id="10" creationId="{453271EE-15E6-5B24-A997-888C6FB7450C}"/>
          </ac:spMkLst>
        </pc:spChg>
        <pc:spChg chg="add del mod modVis">
          <ac:chgData name="Joseph, Tyler" userId="d95ade4d-0576-43d0-bb19-3f7a19f59750" providerId="ADAL" clId="{754C1B76-3236-4A62-9BE9-DF4E7CEDA46E}" dt="2025-03-27T16:17:46.633" v="1799"/>
          <ac:spMkLst>
            <pc:docMk/>
            <pc:sldMk cId="1151559955" sldId="256"/>
            <ac:spMk id="11" creationId="{58440D5A-985C-3119-B995-765E9D336017}"/>
          </ac:spMkLst>
        </pc:spChg>
        <pc:spChg chg="add del mod modVis">
          <ac:chgData name="Joseph, Tyler" userId="d95ade4d-0576-43d0-bb19-3f7a19f59750" providerId="ADAL" clId="{754C1B76-3236-4A62-9BE9-DF4E7CEDA46E}" dt="2025-03-27T16:18:02.975" v="1829"/>
          <ac:spMkLst>
            <pc:docMk/>
            <pc:sldMk cId="1151559955" sldId="256"/>
            <ac:spMk id="12" creationId="{2E1308A8-B7E4-2C25-693C-8F8DA0AF9205}"/>
          </ac:spMkLst>
        </pc:spChg>
        <pc:spChg chg="add del mod modVis">
          <ac:chgData name="Joseph, Tyler" userId="d95ade4d-0576-43d0-bb19-3f7a19f59750" providerId="ADAL" clId="{754C1B76-3236-4A62-9BE9-DF4E7CEDA46E}" dt="2025-03-27T16:18:07.869" v="1887"/>
          <ac:spMkLst>
            <pc:docMk/>
            <pc:sldMk cId="1151559955" sldId="256"/>
            <ac:spMk id="13" creationId="{BFEA4176-0958-3224-42CD-3EBB17E93459}"/>
          </ac:spMkLst>
        </pc:spChg>
        <pc:spChg chg="add del mod modVis">
          <ac:chgData name="Joseph, Tyler" userId="d95ade4d-0576-43d0-bb19-3f7a19f59750" providerId="ADAL" clId="{754C1B76-3236-4A62-9BE9-DF4E7CEDA46E}" dt="2025-03-27T16:19:12.328" v="1913"/>
          <ac:spMkLst>
            <pc:docMk/>
            <pc:sldMk cId="1151559955" sldId="256"/>
            <ac:spMk id="14" creationId="{75E70948-C877-A32F-20AC-C2E24775897F}"/>
          </ac:spMkLst>
        </pc:spChg>
        <pc:graphicFrameChg chg="add del mod">
          <ac:chgData name="Joseph, Tyler" userId="d95ade4d-0576-43d0-bb19-3f7a19f59750" providerId="ADAL" clId="{754C1B76-3236-4A62-9BE9-DF4E7CEDA46E}" dt="2025-03-27T16:17:29.589" v="1583"/>
          <ac:graphicFrameMkLst>
            <pc:docMk/>
            <pc:sldMk cId="1151559955" sldId="256"/>
            <ac:graphicFrameMk id="3" creationId="{24636056-0D28-0AE5-58A5-6537F4D9066A}"/>
          </ac:graphicFrameMkLst>
        </pc:graphicFrameChg>
        <pc:graphicFrameChg chg="add mod ord modVis">
          <ac:chgData name="Joseph, Tyler" userId="d95ade4d-0576-43d0-bb19-3f7a19f59750" providerId="ADAL" clId="{754C1B76-3236-4A62-9BE9-DF4E7CEDA46E}" dt="2025-03-27T16:19:12.328" v="1915"/>
          <ac:graphicFrameMkLst>
            <pc:docMk/>
            <pc:sldMk cId="1151559955" sldId="256"/>
            <ac:graphicFrameMk id="6" creationId="{680E56BA-D4C4-C02B-739C-7593C3518083}"/>
          </ac:graphicFrameMkLst>
        </pc:graphicFrameChg>
      </pc:sldChg>
      <pc:sldChg chg="del">
        <pc:chgData name="Joseph, Tyler" userId="d95ade4d-0576-43d0-bb19-3f7a19f59750" providerId="ADAL" clId="{754C1B76-3236-4A62-9BE9-DF4E7CEDA46E}" dt="2025-03-27T15:14:33.729" v="18" actId="47"/>
        <pc:sldMkLst>
          <pc:docMk/>
          <pc:sldMk cId="2604820320" sldId="256"/>
        </pc:sldMkLst>
      </pc:sldChg>
      <pc:sldChg chg="addSp delSp modSp add mod">
        <pc:chgData name="Joseph, Tyler" userId="d95ade4d-0576-43d0-bb19-3f7a19f59750" providerId="ADAL" clId="{754C1B76-3236-4A62-9BE9-DF4E7CEDA46E}" dt="2025-03-27T17:12:25.463" v="3229" actId="478"/>
        <pc:sldMkLst>
          <pc:docMk/>
          <pc:sldMk cId="4031612863" sldId="257"/>
        </pc:sldMkLst>
        <pc:spChg chg="mod">
          <ac:chgData name="Joseph, Tyler" userId="d95ade4d-0576-43d0-bb19-3f7a19f59750" providerId="ADAL" clId="{754C1B76-3236-4A62-9BE9-DF4E7CEDA46E}" dt="2025-03-27T15:13:13.960" v="3" actId="20577"/>
          <ac:spMkLst>
            <pc:docMk/>
            <pc:sldMk cId="4031612863" sldId="257"/>
            <ac:spMk id="5" creationId="{3F720A33-A5FA-4CAB-BD6E-99A125F86636}"/>
          </ac:spMkLst>
        </pc:spChg>
        <pc:spChg chg="add del mod">
          <ac:chgData name="Joseph, Tyler" userId="d95ade4d-0576-43d0-bb19-3f7a19f59750" providerId="ADAL" clId="{754C1B76-3236-4A62-9BE9-DF4E7CEDA46E}" dt="2025-03-27T17:12:25.463" v="3229" actId="478"/>
          <ac:spMkLst>
            <pc:docMk/>
            <pc:sldMk cId="4031612863" sldId="257"/>
            <ac:spMk id="8" creationId="{79B9C80C-FA45-4340-98D7-9E0DDF66D0E4}"/>
          </ac:spMkLst>
        </pc:spChg>
        <pc:graphicFrameChg chg="add mod">
          <ac:chgData name="Joseph, Tyler" userId="d95ade4d-0576-43d0-bb19-3f7a19f59750" providerId="ADAL" clId="{754C1B76-3236-4A62-9BE9-DF4E7CEDA46E}" dt="2025-03-27T15:17:59.946" v="216"/>
          <ac:graphicFrameMkLst>
            <pc:docMk/>
            <pc:sldMk cId="4031612863" sldId="257"/>
            <ac:graphicFrameMk id="7" creationId="{4AFCA18E-1FB6-C404-9818-CD8ACEBD81D0}"/>
          </ac:graphicFrameMkLst>
        </pc:graphicFrameChg>
      </pc:sldChg>
      <pc:sldChg chg="del">
        <pc:chgData name="Joseph, Tyler" userId="d95ade4d-0576-43d0-bb19-3f7a19f59750" providerId="ADAL" clId="{754C1B76-3236-4A62-9BE9-DF4E7CEDA46E}" dt="2025-03-27T15:14:34.439" v="19" actId="47"/>
        <pc:sldMkLst>
          <pc:docMk/>
          <pc:sldMk cId="62402044" sldId="258"/>
        </pc:sldMkLst>
      </pc:sldChg>
      <pc:sldChg chg="addSp delSp modSp add mod">
        <pc:chgData name="Joseph, Tyler" userId="d95ade4d-0576-43d0-bb19-3f7a19f59750" providerId="ADAL" clId="{754C1B76-3236-4A62-9BE9-DF4E7CEDA46E}" dt="2025-03-27T16:43:28.694" v="3158" actId="478"/>
        <pc:sldMkLst>
          <pc:docMk/>
          <pc:sldMk cId="814895445" sldId="259"/>
        </pc:sldMkLst>
        <pc:spChg chg="add del mod">
          <ac:chgData name="Joseph, Tyler" userId="d95ade4d-0576-43d0-bb19-3f7a19f59750" providerId="ADAL" clId="{754C1B76-3236-4A62-9BE9-DF4E7CEDA46E}" dt="2025-03-27T16:43:28.694" v="3158" actId="478"/>
          <ac:spMkLst>
            <pc:docMk/>
            <pc:sldMk cId="814895445" sldId="259"/>
            <ac:spMk id="4" creationId="{5EF18A2B-EF80-D00E-C0C9-69747C17AAD1}"/>
          </ac:spMkLst>
        </pc:spChg>
        <pc:spChg chg="mod">
          <ac:chgData name="Joseph, Tyler" userId="d95ade4d-0576-43d0-bb19-3f7a19f59750" providerId="ADAL" clId="{754C1B76-3236-4A62-9BE9-DF4E7CEDA46E}" dt="2025-03-27T15:19:40.591" v="389" actId="1076"/>
          <ac:spMkLst>
            <pc:docMk/>
            <pc:sldMk cId="814895445" sldId="259"/>
            <ac:spMk id="20" creationId="{3A18A465-BF89-DD67-A230-3C9AE423EBB6}"/>
          </ac:spMkLst>
        </pc:spChg>
        <pc:spChg chg="mod">
          <ac:chgData name="Joseph, Tyler" userId="d95ade4d-0576-43d0-bb19-3f7a19f59750" providerId="ADAL" clId="{754C1B76-3236-4A62-9BE9-DF4E7CEDA46E}" dt="2025-03-27T15:20:13.264" v="394" actId="207"/>
          <ac:spMkLst>
            <pc:docMk/>
            <pc:sldMk cId="814895445" sldId="259"/>
            <ac:spMk id="94" creationId="{BAFEB66B-B506-DDEB-BE29-DABDF58F36AF}"/>
          </ac:spMkLst>
        </pc:spChg>
        <pc:spChg chg="mod">
          <ac:chgData name="Joseph, Tyler" userId="d95ade4d-0576-43d0-bb19-3f7a19f59750" providerId="ADAL" clId="{754C1B76-3236-4A62-9BE9-DF4E7CEDA46E}" dt="2025-03-27T15:20:08.889" v="393" actId="207"/>
          <ac:spMkLst>
            <pc:docMk/>
            <pc:sldMk cId="814895445" sldId="259"/>
            <ac:spMk id="96" creationId="{28089C9D-9E37-2E2E-5650-78A51601180B}"/>
          </ac:spMkLst>
        </pc:spChg>
        <pc:grpChg chg="mod">
          <ac:chgData name="Joseph, Tyler" userId="d95ade4d-0576-43d0-bb19-3f7a19f59750" providerId="ADAL" clId="{754C1B76-3236-4A62-9BE9-DF4E7CEDA46E}" dt="2025-03-27T15:19:40.591" v="389" actId="1076"/>
          <ac:grpSpMkLst>
            <pc:docMk/>
            <pc:sldMk cId="814895445" sldId="259"/>
            <ac:grpSpMk id="17" creationId="{7C2429C3-ABBD-1946-DE8B-7F4818D8B3CD}"/>
          </ac:grpSpMkLst>
        </pc:grpChg>
        <pc:graphicFrameChg chg="add mod">
          <ac:chgData name="Joseph, Tyler" userId="d95ade4d-0576-43d0-bb19-3f7a19f59750" providerId="ADAL" clId="{754C1B76-3236-4A62-9BE9-DF4E7CEDA46E}" dt="2025-03-27T16:17:02.870" v="1456"/>
          <ac:graphicFrameMkLst>
            <pc:docMk/>
            <pc:sldMk cId="814895445" sldId="259"/>
            <ac:graphicFrameMk id="3" creationId="{6C2C6E5F-9406-3085-2036-306390375AFC}"/>
          </ac:graphicFrameMkLst>
        </pc:graphicFrameChg>
        <pc:cxnChg chg="mod">
          <ac:chgData name="Joseph, Tyler" userId="d95ade4d-0576-43d0-bb19-3f7a19f59750" providerId="ADAL" clId="{754C1B76-3236-4A62-9BE9-DF4E7CEDA46E}" dt="2025-03-27T15:20:29.467" v="399" actId="208"/>
          <ac:cxnSpMkLst>
            <pc:docMk/>
            <pc:sldMk cId="814895445" sldId="259"/>
            <ac:cxnSpMk id="46" creationId="{9D084372-0D6C-D9F5-84D3-A602C18C0CD3}"/>
          </ac:cxnSpMkLst>
        </pc:cxnChg>
        <pc:cxnChg chg="mod">
          <ac:chgData name="Joseph, Tyler" userId="d95ade4d-0576-43d0-bb19-3f7a19f59750" providerId="ADAL" clId="{754C1B76-3236-4A62-9BE9-DF4E7CEDA46E}" dt="2025-03-27T15:20:39.424" v="401" actId="208"/>
          <ac:cxnSpMkLst>
            <pc:docMk/>
            <pc:sldMk cId="814895445" sldId="259"/>
            <ac:cxnSpMk id="53" creationId="{685C227B-567B-DF8B-DD34-4589046963D2}"/>
          </ac:cxnSpMkLst>
        </pc:cxnChg>
        <pc:cxnChg chg="mod">
          <ac:chgData name="Joseph, Tyler" userId="d95ade4d-0576-43d0-bb19-3f7a19f59750" providerId="ADAL" clId="{754C1B76-3236-4A62-9BE9-DF4E7CEDA46E}" dt="2025-03-27T15:20:34.454" v="400" actId="208"/>
          <ac:cxnSpMkLst>
            <pc:docMk/>
            <pc:sldMk cId="814895445" sldId="259"/>
            <ac:cxnSpMk id="58" creationId="{5E3CA9DD-5C22-533B-AEBF-95258D7A0971}"/>
          </ac:cxnSpMkLst>
        </pc:cxnChg>
        <pc:cxnChg chg="mod">
          <ac:chgData name="Joseph, Tyler" userId="d95ade4d-0576-43d0-bb19-3f7a19f59750" providerId="ADAL" clId="{754C1B76-3236-4A62-9BE9-DF4E7CEDA46E}" dt="2025-03-27T15:20:43.189" v="402" actId="208"/>
          <ac:cxnSpMkLst>
            <pc:docMk/>
            <pc:sldMk cId="814895445" sldId="259"/>
            <ac:cxnSpMk id="112" creationId="{3EA6DADC-C282-9243-9AE5-E8B6668C82DC}"/>
          </ac:cxnSpMkLst>
        </pc:cxnChg>
      </pc:sldChg>
      <pc:sldChg chg="addSp delSp modSp mod ord">
        <pc:chgData name="Joseph, Tyler" userId="d95ade4d-0576-43d0-bb19-3f7a19f59750" providerId="ADAL" clId="{754C1B76-3236-4A62-9BE9-DF4E7CEDA46E}" dt="2025-03-27T16:44:22.242" v="3159" actId="6549"/>
        <pc:sldMkLst>
          <pc:docMk/>
          <pc:sldMk cId="482243348" sldId="261"/>
        </pc:sldMkLst>
        <pc:spChg chg="add del mod modVis">
          <ac:chgData name="Joseph, Tyler" userId="d95ade4d-0576-43d0-bb19-3f7a19f59750" providerId="ADAL" clId="{754C1B76-3236-4A62-9BE9-DF4E7CEDA46E}" dt="2025-03-27T15:21:22.061" v="554"/>
          <ac:spMkLst>
            <pc:docMk/>
            <pc:sldMk cId="482243348" sldId="261"/>
            <ac:spMk id="3" creationId="{82383888-04DE-0526-C4F2-22C63F97F586}"/>
          </ac:spMkLst>
        </pc:spChg>
        <pc:spChg chg="del mod">
          <ac:chgData name="Joseph, Tyler" userId="d95ade4d-0576-43d0-bb19-3f7a19f59750" providerId="ADAL" clId="{754C1B76-3236-4A62-9BE9-DF4E7CEDA46E}" dt="2025-03-27T15:23:20.050" v="671" actId="478"/>
          <ac:spMkLst>
            <pc:docMk/>
            <pc:sldMk cId="482243348" sldId="261"/>
            <ac:spMk id="5" creationId="{EF0E4378-4ACE-2797-2E8D-95F320988020}"/>
          </ac:spMkLst>
        </pc:spChg>
        <pc:spChg chg="mod">
          <ac:chgData name="Joseph, Tyler" userId="d95ade4d-0576-43d0-bb19-3f7a19f59750" providerId="ADAL" clId="{754C1B76-3236-4A62-9BE9-DF4E7CEDA46E}" dt="2025-03-27T15:29:19.650" v="955"/>
          <ac:spMkLst>
            <pc:docMk/>
            <pc:sldMk cId="482243348" sldId="261"/>
            <ac:spMk id="6" creationId="{042960BD-81F6-777F-9206-6748106BAD8F}"/>
          </ac:spMkLst>
        </pc:spChg>
        <pc:spChg chg="add del mod modVis">
          <ac:chgData name="Joseph, Tyler" userId="d95ade4d-0576-43d0-bb19-3f7a19f59750" providerId="ADAL" clId="{754C1B76-3236-4A62-9BE9-DF4E7CEDA46E}" dt="2025-03-27T15:21:23.237" v="579"/>
          <ac:spMkLst>
            <pc:docMk/>
            <pc:sldMk cId="482243348" sldId="261"/>
            <ac:spMk id="13" creationId="{6AEFD997-6887-B65B-A0E7-C34F50A5B6B6}"/>
          </ac:spMkLst>
        </pc:spChg>
        <pc:spChg chg="add del mod modVis">
          <ac:chgData name="Joseph, Tyler" userId="d95ade4d-0576-43d0-bb19-3f7a19f59750" providerId="ADAL" clId="{754C1B76-3236-4A62-9BE9-DF4E7CEDA46E}" dt="2025-03-27T15:21:24.169" v="604"/>
          <ac:spMkLst>
            <pc:docMk/>
            <pc:sldMk cId="482243348" sldId="261"/>
            <ac:spMk id="15" creationId="{FFB2C7B0-CD8D-3BEB-AADE-12DBCB29DFC2}"/>
          </ac:spMkLst>
        </pc:spChg>
        <pc:spChg chg="add del mod modVis">
          <ac:chgData name="Joseph, Tyler" userId="d95ade4d-0576-43d0-bb19-3f7a19f59750" providerId="ADAL" clId="{754C1B76-3236-4A62-9BE9-DF4E7CEDA46E}" dt="2025-03-27T15:21:28.425" v="629"/>
          <ac:spMkLst>
            <pc:docMk/>
            <pc:sldMk cId="482243348" sldId="261"/>
            <ac:spMk id="16" creationId="{AECF0EAA-B968-2CC2-08B3-54D96EC238E2}"/>
          </ac:spMkLst>
        </pc:spChg>
        <pc:spChg chg="mod">
          <ac:chgData name="Joseph, Tyler" userId="d95ade4d-0576-43d0-bb19-3f7a19f59750" providerId="ADAL" clId="{754C1B76-3236-4A62-9BE9-DF4E7CEDA46E}" dt="2025-03-27T15:29:23.401" v="956"/>
          <ac:spMkLst>
            <pc:docMk/>
            <pc:sldMk cId="482243348" sldId="261"/>
            <ac:spMk id="17" creationId="{7BF072F8-20E3-C3AA-5242-2C954750D5D8}"/>
          </ac:spMkLst>
        </pc:spChg>
        <pc:spChg chg="mod">
          <ac:chgData name="Joseph, Tyler" userId="d95ade4d-0576-43d0-bb19-3f7a19f59750" providerId="ADAL" clId="{754C1B76-3236-4A62-9BE9-DF4E7CEDA46E}" dt="2025-03-27T15:30:03.730" v="972"/>
          <ac:spMkLst>
            <pc:docMk/>
            <pc:sldMk cId="482243348" sldId="261"/>
            <ac:spMk id="21" creationId="{95A9A4C7-A572-A1D8-3B42-8351939DC15D}"/>
          </ac:spMkLst>
        </pc:spChg>
        <pc:spChg chg="mod topLvl">
          <ac:chgData name="Joseph, Tyler" userId="d95ade4d-0576-43d0-bb19-3f7a19f59750" providerId="ADAL" clId="{754C1B76-3236-4A62-9BE9-DF4E7CEDA46E}" dt="2025-03-27T15:29:05.118" v="952" actId="1076"/>
          <ac:spMkLst>
            <pc:docMk/>
            <pc:sldMk cId="482243348" sldId="261"/>
            <ac:spMk id="22" creationId="{3724B978-EE45-CC16-0A92-D4C5B94BC75C}"/>
          </ac:spMkLst>
        </pc:spChg>
        <pc:spChg chg="mod">
          <ac:chgData name="Joseph, Tyler" userId="d95ade4d-0576-43d0-bb19-3f7a19f59750" providerId="ADAL" clId="{754C1B76-3236-4A62-9BE9-DF4E7CEDA46E}" dt="2025-03-27T15:25:48.463" v="945" actId="1076"/>
          <ac:spMkLst>
            <pc:docMk/>
            <pc:sldMk cId="482243348" sldId="261"/>
            <ac:spMk id="24" creationId="{F6D8B919-2D2C-9713-4326-1481A12DD7AA}"/>
          </ac:spMkLst>
        </pc:spChg>
        <pc:spChg chg="mod">
          <ac:chgData name="Joseph, Tyler" userId="d95ade4d-0576-43d0-bb19-3f7a19f59750" providerId="ADAL" clId="{754C1B76-3236-4A62-9BE9-DF4E7CEDA46E}" dt="2025-03-27T15:30:03.730" v="972"/>
          <ac:spMkLst>
            <pc:docMk/>
            <pc:sldMk cId="482243348" sldId="261"/>
            <ac:spMk id="26" creationId="{D33DB9F8-B09A-8956-E9F6-B6D163BFCBE7}"/>
          </ac:spMkLst>
        </pc:spChg>
        <pc:spChg chg="mod">
          <ac:chgData name="Joseph, Tyler" userId="d95ade4d-0576-43d0-bb19-3f7a19f59750" providerId="ADAL" clId="{754C1B76-3236-4A62-9BE9-DF4E7CEDA46E}" dt="2025-03-27T15:30:03.730" v="972"/>
          <ac:spMkLst>
            <pc:docMk/>
            <pc:sldMk cId="482243348" sldId="261"/>
            <ac:spMk id="28" creationId="{52D374C5-0B2C-A574-E4FC-F3AA91192992}"/>
          </ac:spMkLst>
        </pc:spChg>
        <pc:spChg chg="mod">
          <ac:chgData name="Joseph, Tyler" userId="d95ade4d-0576-43d0-bb19-3f7a19f59750" providerId="ADAL" clId="{754C1B76-3236-4A62-9BE9-DF4E7CEDA46E}" dt="2025-03-27T15:30:03.730" v="972"/>
          <ac:spMkLst>
            <pc:docMk/>
            <pc:sldMk cId="482243348" sldId="261"/>
            <ac:spMk id="29" creationId="{AFDA0ADB-AF50-6667-F45B-CD549979F712}"/>
          </ac:spMkLst>
        </pc:spChg>
        <pc:spChg chg="mod">
          <ac:chgData name="Joseph, Tyler" userId="d95ade4d-0576-43d0-bb19-3f7a19f59750" providerId="ADAL" clId="{754C1B76-3236-4A62-9BE9-DF4E7CEDA46E}" dt="2025-03-27T15:25:48.463" v="945" actId="1076"/>
          <ac:spMkLst>
            <pc:docMk/>
            <pc:sldMk cId="482243348" sldId="261"/>
            <ac:spMk id="32" creationId="{E401DA3B-F36D-37F9-FD80-CBB65C07CD35}"/>
          </ac:spMkLst>
        </pc:spChg>
        <pc:spChg chg="mod">
          <ac:chgData name="Joseph, Tyler" userId="d95ade4d-0576-43d0-bb19-3f7a19f59750" providerId="ADAL" clId="{754C1B76-3236-4A62-9BE9-DF4E7CEDA46E}" dt="2025-03-27T15:25:48.463" v="945" actId="1076"/>
          <ac:spMkLst>
            <pc:docMk/>
            <pc:sldMk cId="482243348" sldId="261"/>
            <ac:spMk id="33" creationId="{700B8FAD-CE44-B890-A118-8F4EED6971DC}"/>
          </ac:spMkLst>
        </pc:spChg>
        <pc:spChg chg="add mod">
          <ac:chgData name="Joseph, Tyler" userId="d95ade4d-0576-43d0-bb19-3f7a19f59750" providerId="ADAL" clId="{754C1B76-3236-4A62-9BE9-DF4E7CEDA46E}" dt="2025-03-27T16:44:22.242" v="3159" actId="6549"/>
          <ac:spMkLst>
            <pc:docMk/>
            <pc:sldMk cId="482243348" sldId="261"/>
            <ac:spMk id="34" creationId="{09BE5D14-5D5B-F3D0-E497-6DC6C0A1FB54}"/>
          </ac:spMkLst>
        </pc:spChg>
        <pc:spChg chg="mod">
          <ac:chgData name="Joseph, Tyler" userId="d95ade4d-0576-43d0-bb19-3f7a19f59750" providerId="ADAL" clId="{754C1B76-3236-4A62-9BE9-DF4E7CEDA46E}" dt="2025-03-27T15:29:05.118" v="952" actId="1076"/>
          <ac:spMkLst>
            <pc:docMk/>
            <pc:sldMk cId="482243348" sldId="261"/>
            <ac:spMk id="40" creationId="{311B7882-2354-69F1-BE1C-91E59CCE9B82}"/>
          </ac:spMkLst>
        </pc:spChg>
        <pc:spChg chg="mod">
          <ac:chgData name="Joseph, Tyler" userId="d95ade4d-0576-43d0-bb19-3f7a19f59750" providerId="ADAL" clId="{754C1B76-3236-4A62-9BE9-DF4E7CEDA46E}" dt="2025-03-27T15:29:05.118" v="952" actId="1076"/>
          <ac:spMkLst>
            <pc:docMk/>
            <pc:sldMk cId="482243348" sldId="261"/>
            <ac:spMk id="45" creationId="{33D6589F-3BD9-2094-189D-FFEDE1EDF62D}"/>
          </ac:spMkLst>
        </pc:spChg>
        <pc:spChg chg="mod">
          <ac:chgData name="Joseph, Tyler" userId="d95ade4d-0576-43d0-bb19-3f7a19f59750" providerId="ADAL" clId="{754C1B76-3236-4A62-9BE9-DF4E7CEDA46E}" dt="2025-03-27T15:29:05.118" v="952" actId="1076"/>
          <ac:spMkLst>
            <pc:docMk/>
            <pc:sldMk cId="482243348" sldId="261"/>
            <ac:spMk id="46" creationId="{528FDBFA-1C30-4CC5-0DCA-EE62742EEB5F}"/>
          </ac:spMkLst>
        </pc:spChg>
        <pc:spChg chg="mod">
          <ac:chgData name="Joseph, Tyler" userId="d95ade4d-0576-43d0-bb19-3f7a19f59750" providerId="ADAL" clId="{754C1B76-3236-4A62-9BE9-DF4E7CEDA46E}" dt="2025-03-27T15:21:28.397" v="608" actId="948"/>
          <ac:spMkLst>
            <pc:docMk/>
            <pc:sldMk cId="482243348" sldId="261"/>
            <ac:spMk id="48" creationId="{F2E9D8FA-4E30-FC2E-9529-A9EFAAC0B75F}"/>
          </ac:spMkLst>
        </pc:spChg>
        <pc:spChg chg="mod">
          <ac:chgData name="Joseph, Tyler" userId="d95ade4d-0576-43d0-bb19-3f7a19f59750" providerId="ADAL" clId="{754C1B76-3236-4A62-9BE9-DF4E7CEDA46E}" dt="2025-03-27T15:28:47.498" v="949"/>
          <ac:spMkLst>
            <pc:docMk/>
            <pc:sldMk cId="482243348" sldId="261"/>
            <ac:spMk id="49" creationId="{B5F6EF49-A040-A858-F19C-8495E9E7C56C}"/>
          </ac:spMkLst>
        </pc:spChg>
        <pc:spChg chg="mod">
          <ac:chgData name="Joseph, Tyler" userId="d95ade4d-0576-43d0-bb19-3f7a19f59750" providerId="ADAL" clId="{754C1B76-3236-4A62-9BE9-DF4E7CEDA46E}" dt="2025-03-27T15:29:05.118" v="952" actId="1076"/>
          <ac:spMkLst>
            <pc:docMk/>
            <pc:sldMk cId="482243348" sldId="261"/>
            <ac:spMk id="52" creationId="{B5B84F66-9289-E06A-7864-DC6A5918168E}"/>
          </ac:spMkLst>
        </pc:spChg>
        <pc:spChg chg="add mod">
          <ac:chgData name="Joseph, Tyler" userId="d95ade4d-0576-43d0-bb19-3f7a19f59750" providerId="ADAL" clId="{754C1B76-3236-4A62-9BE9-DF4E7CEDA46E}" dt="2025-03-27T16:06:11.454" v="1129" actId="20577"/>
          <ac:spMkLst>
            <pc:docMk/>
            <pc:sldMk cId="482243348" sldId="261"/>
            <ac:spMk id="55" creationId="{122FBACB-B20A-A512-3ADA-A5260E598B8F}"/>
          </ac:spMkLst>
        </pc:spChg>
        <pc:spChg chg="add del mod">
          <ac:chgData name="Joseph, Tyler" userId="d95ade4d-0576-43d0-bb19-3f7a19f59750" providerId="ADAL" clId="{754C1B76-3236-4A62-9BE9-DF4E7CEDA46E}" dt="2025-03-27T16:43:25.547" v="3157" actId="478"/>
          <ac:spMkLst>
            <pc:docMk/>
            <pc:sldMk cId="482243348" sldId="261"/>
            <ac:spMk id="57" creationId="{D7A5E904-02CB-4D4A-D57B-21E61001512D}"/>
          </ac:spMkLst>
        </pc:spChg>
        <pc:grpChg chg="add del mod">
          <ac:chgData name="Joseph, Tyler" userId="d95ade4d-0576-43d0-bb19-3f7a19f59750" providerId="ADAL" clId="{754C1B76-3236-4A62-9BE9-DF4E7CEDA46E}" dt="2025-03-27T15:23:39.168" v="676" actId="165"/>
          <ac:grpSpMkLst>
            <pc:docMk/>
            <pc:sldMk cId="482243348" sldId="261"/>
            <ac:grpSpMk id="18" creationId="{8C7E3F5A-22B2-DC23-E46E-643E2AEF172B}"/>
          </ac:grpSpMkLst>
        </pc:grpChg>
        <pc:grpChg chg="del">
          <ac:chgData name="Joseph, Tyler" userId="d95ade4d-0576-43d0-bb19-3f7a19f59750" providerId="ADAL" clId="{754C1B76-3236-4A62-9BE9-DF4E7CEDA46E}" dt="2025-03-27T15:23:11.549" v="669" actId="478"/>
          <ac:grpSpMkLst>
            <pc:docMk/>
            <pc:sldMk cId="482243348" sldId="261"/>
            <ac:grpSpMk id="20" creationId="{3B1D34A4-7D7B-94B5-1888-BB3FEC433874}"/>
          </ac:grpSpMkLst>
        </pc:grpChg>
        <pc:grpChg chg="del mod topLvl">
          <ac:chgData name="Joseph, Tyler" userId="d95ade4d-0576-43d0-bb19-3f7a19f59750" providerId="ADAL" clId="{754C1B76-3236-4A62-9BE9-DF4E7CEDA46E}" dt="2025-03-27T15:28:49.630" v="950" actId="478"/>
          <ac:grpSpMkLst>
            <pc:docMk/>
            <pc:sldMk cId="482243348" sldId="261"/>
            <ac:grpSpMk id="23" creationId="{B234739A-A24F-3EE7-0782-9F9D55262E69}"/>
          </ac:grpSpMkLst>
        </pc:grpChg>
        <pc:grpChg chg="mod">
          <ac:chgData name="Joseph, Tyler" userId="d95ade4d-0576-43d0-bb19-3f7a19f59750" providerId="ADAL" clId="{754C1B76-3236-4A62-9BE9-DF4E7CEDA46E}" dt="2025-03-27T15:30:03.730" v="972"/>
          <ac:grpSpMkLst>
            <pc:docMk/>
            <pc:sldMk cId="482243348" sldId="261"/>
            <ac:grpSpMk id="25" creationId="{A380D45A-B7AD-102B-9EC9-96264D463AB8}"/>
          </ac:grpSpMkLst>
        </pc:grpChg>
        <pc:grpChg chg="mod">
          <ac:chgData name="Joseph, Tyler" userId="d95ade4d-0576-43d0-bb19-3f7a19f59750" providerId="ADAL" clId="{754C1B76-3236-4A62-9BE9-DF4E7CEDA46E}" dt="2025-03-27T15:30:03.730" v="972"/>
          <ac:grpSpMkLst>
            <pc:docMk/>
            <pc:sldMk cId="482243348" sldId="261"/>
            <ac:grpSpMk id="27" creationId="{B2C1A4A5-4A47-6843-C3CA-CAF7A2B7F2B8}"/>
          </ac:grpSpMkLst>
        </pc:grpChg>
        <pc:grpChg chg="mod">
          <ac:chgData name="Joseph, Tyler" userId="d95ade4d-0576-43d0-bb19-3f7a19f59750" providerId="ADAL" clId="{754C1B76-3236-4A62-9BE9-DF4E7CEDA46E}" dt="2025-03-27T15:25:48.463" v="945" actId="1076"/>
          <ac:grpSpMkLst>
            <pc:docMk/>
            <pc:sldMk cId="482243348" sldId="261"/>
            <ac:grpSpMk id="30" creationId="{3283B1A6-A549-C9CF-82D3-2597E98A9852}"/>
          </ac:grpSpMkLst>
        </pc:grpChg>
        <pc:grpChg chg="mod">
          <ac:chgData name="Joseph, Tyler" userId="d95ade4d-0576-43d0-bb19-3f7a19f59750" providerId="ADAL" clId="{754C1B76-3236-4A62-9BE9-DF4E7CEDA46E}" dt="2025-03-27T15:30:03.730" v="972"/>
          <ac:grpSpMkLst>
            <pc:docMk/>
            <pc:sldMk cId="482243348" sldId="261"/>
            <ac:grpSpMk id="31" creationId="{38324CE9-5A6A-EEE8-5E7C-A0887FC011A6}"/>
          </ac:grpSpMkLst>
        </pc:grpChg>
        <pc:grpChg chg="mod">
          <ac:chgData name="Joseph, Tyler" userId="d95ade4d-0576-43d0-bb19-3f7a19f59750" providerId="ADAL" clId="{754C1B76-3236-4A62-9BE9-DF4E7CEDA46E}" dt="2025-03-27T15:28:52.832" v="951" actId="164"/>
          <ac:grpSpMkLst>
            <pc:docMk/>
            <pc:sldMk cId="482243348" sldId="261"/>
            <ac:grpSpMk id="39" creationId="{1ADA1E25-8E8D-5D5E-B504-645C11DDB76E}"/>
          </ac:grpSpMkLst>
        </pc:grpChg>
        <pc:grpChg chg="mod">
          <ac:chgData name="Joseph, Tyler" userId="d95ade4d-0576-43d0-bb19-3f7a19f59750" providerId="ADAL" clId="{754C1B76-3236-4A62-9BE9-DF4E7CEDA46E}" dt="2025-03-27T15:28:47.498" v="949"/>
          <ac:grpSpMkLst>
            <pc:docMk/>
            <pc:sldMk cId="482243348" sldId="261"/>
            <ac:grpSpMk id="47" creationId="{78205838-C766-C54D-CFA0-65752B2AA437}"/>
          </ac:grpSpMkLst>
        </pc:grpChg>
        <pc:grpChg chg="del">
          <ac:chgData name="Joseph, Tyler" userId="d95ade4d-0576-43d0-bb19-3f7a19f59750" providerId="ADAL" clId="{754C1B76-3236-4A62-9BE9-DF4E7CEDA46E}" dt="2025-03-27T15:25:18.889" v="940" actId="478"/>
          <ac:grpSpMkLst>
            <pc:docMk/>
            <pc:sldMk cId="482243348" sldId="261"/>
            <ac:grpSpMk id="50" creationId="{9474BDDF-1908-5C88-A372-0457BC463BDF}"/>
          </ac:grpSpMkLst>
        </pc:grpChg>
        <pc:grpChg chg="mod">
          <ac:chgData name="Joseph, Tyler" userId="d95ade4d-0576-43d0-bb19-3f7a19f59750" providerId="ADAL" clId="{754C1B76-3236-4A62-9BE9-DF4E7CEDA46E}" dt="2025-03-27T15:29:15.239" v="954" actId="465"/>
          <ac:grpSpMkLst>
            <pc:docMk/>
            <pc:sldMk cId="482243348" sldId="261"/>
            <ac:grpSpMk id="51" creationId="{71990962-7B03-1C54-EB16-5A8CD5494FD6}"/>
          </ac:grpSpMkLst>
        </pc:grpChg>
        <pc:grpChg chg="add mod">
          <ac:chgData name="Joseph, Tyler" userId="d95ade4d-0576-43d0-bb19-3f7a19f59750" providerId="ADAL" clId="{754C1B76-3236-4A62-9BE9-DF4E7CEDA46E}" dt="2025-03-27T15:29:15.239" v="954" actId="465"/>
          <ac:grpSpMkLst>
            <pc:docMk/>
            <pc:sldMk cId="482243348" sldId="261"/>
            <ac:grpSpMk id="53" creationId="{4A1960C4-28A7-6E39-0862-9349C7DCEA3D}"/>
          </ac:grpSpMkLst>
        </pc:grpChg>
        <pc:graphicFrameChg chg="mod">
          <ac:chgData name="Joseph, Tyler" userId="d95ade4d-0576-43d0-bb19-3f7a19f59750" providerId="ADAL" clId="{754C1B76-3236-4A62-9BE9-DF4E7CEDA46E}" dt="2025-03-27T15:21:28.426" v="631"/>
          <ac:graphicFrameMkLst>
            <pc:docMk/>
            <pc:sldMk cId="482243348" sldId="261"/>
            <ac:graphicFrameMk id="4" creationId="{E4B597C3-8830-6A5D-3BD4-CE2461AFE70B}"/>
          </ac:graphicFrameMkLst>
        </pc:graphicFrameChg>
        <pc:graphicFrameChg chg="del">
          <ac:chgData name="Joseph, Tyler" userId="d95ade4d-0576-43d0-bb19-3f7a19f59750" providerId="ADAL" clId="{754C1B76-3236-4A62-9BE9-DF4E7CEDA46E}" dt="2025-03-27T15:21:22.059" v="550"/>
          <ac:graphicFrameMkLst>
            <pc:docMk/>
            <pc:sldMk cId="482243348" sldId="261"/>
            <ac:graphicFrameMk id="12" creationId="{F14397E8-90C0-41A3-8C1D-B600B17DECBB}"/>
          </ac:graphicFrameMkLst>
        </pc:graphicFrameChg>
        <pc:graphicFrameChg chg="del">
          <ac:chgData name="Joseph, Tyler" userId="d95ade4d-0576-43d0-bb19-3f7a19f59750" providerId="ADAL" clId="{754C1B76-3236-4A62-9BE9-DF4E7CEDA46E}" dt="2025-03-27T15:21:22.060" v="552"/>
          <ac:graphicFrameMkLst>
            <pc:docMk/>
            <pc:sldMk cId="482243348" sldId="261"/>
            <ac:graphicFrameMk id="14" creationId="{62D8F083-ABE1-CBC4-4400-196AC2FE3054}"/>
          </ac:graphicFrameMkLst>
        </pc:graphicFrameChg>
        <pc:graphicFrameChg chg="add mod">
          <ac:chgData name="Joseph, Tyler" userId="d95ade4d-0576-43d0-bb19-3f7a19f59750" providerId="ADAL" clId="{754C1B76-3236-4A62-9BE9-DF4E7CEDA46E}" dt="2025-03-27T15:29:52.578" v="958"/>
          <ac:graphicFrameMkLst>
            <pc:docMk/>
            <pc:sldMk cId="482243348" sldId="261"/>
            <ac:graphicFrameMk id="54" creationId="{798D19A0-0C6C-D4D8-5085-60BFD06EFC13}"/>
          </ac:graphicFrameMkLst>
        </pc:graphicFrameChg>
        <pc:graphicFrameChg chg="add mod">
          <ac:chgData name="Joseph, Tyler" userId="d95ade4d-0576-43d0-bb19-3f7a19f59750" providerId="ADAL" clId="{754C1B76-3236-4A62-9BE9-DF4E7CEDA46E}" dt="2025-03-27T16:17:04.439" v="1457"/>
          <ac:graphicFrameMkLst>
            <pc:docMk/>
            <pc:sldMk cId="482243348" sldId="261"/>
            <ac:graphicFrameMk id="56" creationId="{74B4505F-A94D-701C-6E9C-B673DD665C08}"/>
          </ac:graphicFrameMkLst>
        </pc:graphicFrameChg>
        <pc:cxnChg chg="mod">
          <ac:chgData name="Joseph, Tyler" userId="d95ade4d-0576-43d0-bb19-3f7a19f59750" providerId="ADAL" clId="{754C1B76-3236-4A62-9BE9-DF4E7CEDA46E}" dt="2025-03-27T15:29:15.239" v="954" actId="465"/>
          <ac:cxnSpMkLst>
            <pc:docMk/>
            <pc:sldMk cId="482243348" sldId="261"/>
            <ac:cxnSpMk id="35" creationId="{45D3821E-21A3-1D83-3F6B-198881FA0791}"/>
          </ac:cxnSpMkLst>
        </pc:cxnChg>
      </pc:sldChg>
      <pc:sldChg chg="del">
        <pc:chgData name="Joseph, Tyler" userId="d95ade4d-0576-43d0-bb19-3f7a19f59750" providerId="ADAL" clId="{754C1B76-3236-4A62-9BE9-DF4E7CEDA46E}" dt="2025-03-27T15:13:44.169" v="10" actId="47"/>
        <pc:sldMkLst>
          <pc:docMk/>
          <pc:sldMk cId="43380306" sldId="262"/>
        </pc:sldMkLst>
      </pc:sldChg>
      <pc:sldChg chg="del">
        <pc:chgData name="Joseph, Tyler" userId="d95ade4d-0576-43d0-bb19-3f7a19f59750" providerId="ADAL" clId="{754C1B76-3236-4A62-9BE9-DF4E7CEDA46E}" dt="2025-03-27T15:14:35.267" v="20" actId="47"/>
        <pc:sldMkLst>
          <pc:docMk/>
          <pc:sldMk cId="381074784" sldId="263"/>
        </pc:sldMkLst>
      </pc:sldChg>
      <pc:sldChg chg="del">
        <pc:chgData name="Joseph, Tyler" userId="d95ade4d-0576-43d0-bb19-3f7a19f59750" providerId="ADAL" clId="{754C1B76-3236-4A62-9BE9-DF4E7CEDA46E}" dt="2025-03-27T15:13:47.638" v="12" actId="47"/>
        <pc:sldMkLst>
          <pc:docMk/>
          <pc:sldMk cId="992494595" sldId="264"/>
        </pc:sldMkLst>
      </pc:sldChg>
      <pc:sldChg chg="del">
        <pc:chgData name="Joseph, Tyler" userId="d95ade4d-0576-43d0-bb19-3f7a19f59750" providerId="ADAL" clId="{754C1B76-3236-4A62-9BE9-DF4E7CEDA46E}" dt="2025-03-27T15:13:19.358" v="6" actId="47"/>
        <pc:sldMkLst>
          <pc:docMk/>
          <pc:sldMk cId="4012520347" sldId="265"/>
        </pc:sldMkLst>
      </pc:sldChg>
      <pc:sldChg chg="del">
        <pc:chgData name="Joseph, Tyler" userId="d95ade4d-0576-43d0-bb19-3f7a19f59750" providerId="ADAL" clId="{754C1B76-3236-4A62-9BE9-DF4E7CEDA46E}" dt="2025-03-27T15:13:46.791" v="11" actId="47"/>
        <pc:sldMkLst>
          <pc:docMk/>
          <pc:sldMk cId="2590445766" sldId="266"/>
        </pc:sldMkLst>
      </pc:sldChg>
      <pc:sldChg chg="del">
        <pc:chgData name="Joseph, Tyler" userId="d95ade4d-0576-43d0-bb19-3f7a19f59750" providerId="ADAL" clId="{754C1B76-3236-4A62-9BE9-DF4E7CEDA46E}" dt="2025-03-27T15:14:40.008" v="27" actId="47"/>
        <pc:sldMkLst>
          <pc:docMk/>
          <pc:sldMk cId="2365778638" sldId="267"/>
        </pc:sldMkLst>
      </pc:sldChg>
      <pc:sldChg chg="del">
        <pc:chgData name="Joseph, Tyler" userId="d95ade4d-0576-43d0-bb19-3f7a19f59750" providerId="ADAL" clId="{754C1B76-3236-4A62-9BE9-DF4E7CEDA46E}" dt="2025-03-27T15:14:36.007" v="21" actId="47"/>
        <pc:sldMkLst>
          <pc:docMk/>
          <pc:sldMk cId="4212653546" sldId="269"/>
        </pc:sldMkLst>
      </pc:sldChg>
      <pc:sldChg chg="del">
        <pc:chgData name="Joseph, Tyler" userId="d95ade4d-0576-43d0-bb19-3f7a19f59750" providerId="ADAL" clId="{754C1B76-3236-4A62-9BE9-DF4E7CEDA46E}" dt="2025-03-27T15:13:10.149" v="1" actId="47"/>
        <pc:sldMkLst>
          <pc:docMk/>
          <pc:sldMk cId="2967202399" sldId="271"/>
        </pc:sldMkLst>
      </pc:sldChg>
      <pc:sldChg chg="del">
        <pc:chgData name="Joseph, Tyler" userId="d95ade4d-0576-43d0-bb19-3f7a19f59750" providerId="ADAL" clId="{754C1B76-3236-4A62-9BE9-DF4E7CEDA46E}" dt="2025-03-27T15:13:48.157" v="13" actId="47"/>
        <pc:sldMkLst>
          <pc:docMk/>
          <pc:sldMk cId="3843149657" sldId="272"/>
        </pc:sldMkLst>
      </pc:sldChg>
      <pc:sldChg chg="del">
        <pc:chgData name="Joseph, Tyler" userId="d95ade4d-0576-43d0-bb19-3f7a19f59750" providerId="ADAL" clId="{754C1B76-3236-4A62-9BE9-DF4E7CEDA46E}" dt="2025-03-27T15:14:36.769" v="22" actId="47"/>
        <pc:sldMkLst>
          <pc:docMk/>
          <pc:sldMk cId="1863425290" sldId="273"/>
        </pc:sldMkLst>
      </pc:sldChg>
      <pc:sldChg chg="addSp delSp modSp mod">
        <pc:chgData name="Joseph, Tyler" userId="d95ade4d-0576-43d0-bb19-3f7a19f59750" providerId="ADAL" clId="{754C1B76-3236-4A62-9BE9-DF4E7CEDA46E}" dt="2025-03-27T15:21:13.246" v="527"/>
        <pc:sldMkLst>
          <pc:docMk/>
          <pc:sldMk cId="2490139094" sldId="274"/>
        </pc:sldMkLst>
        <pc:spChg chg="add del mod modVis">
          <ac:chgData name="Joseph, Tyler" userId="d95ade4d-0576-43d0-bb19-3f7a19f59750" providerId="ADAL" clId="{754C1B76-3236-4A62-9BE9-DF4E7CEDA46E}" dt="2025-03-27T15:21:08.538" v="442"/>
          <ac:spMkLst>
            <pc:docMk/>
            <pc:sldMk cId="2490139094" sldId="274"/>
            <ac:spMk id="2" creationId="{AEE763D1-AB80-39A6-01D7-CB12C5977447}"/>
          </ac:spMkLst>
        </pc:spChg>
        <pc:spChg chg="mod">
          <ac:chgData name="Joseph, Tyler" userId="d95ade4d-0576-43d0-bb19-3f7a19f59750" providerId="ADAL" clId="{754C1B76-3236-4A62-9BE9-DF4E7CEDA46E}" dt="2025-03-27T15:21:13.219" v="504" actId="948"/>
          <ac:spMkLst>
            <pc:docMk/>
            <pc:sldMk cId="2490139094" sldId="274"/>
            <ac:spMk id="3" creationId="{EF5550BE-630F-273B-3AD9-285EA6D390F4}"/>
          </ac:spMkLst>
        </pc:spChg>
        <pc:spChg chg="add del mod modVis">
          <ac:chgData name="Joseph, Tyler" userId="d95ade4d-0576-43d0-bb19-3f7a19f59750" providerId="ADAL" clId="{754C1B76-3236-4A62-9BE9-DF4E7CEDA46E}" dt="2025-03-27T15:21:09.622" v="468"/>
          <ac:spMkLst>
            <pc:docMk/>
            <pc:sldMk cId="2490139094" sldId="274"/>
            <ac:spMk id="5" creationId="{31D51DF4-600D-EE6B-E3CC-D0E806A10385}"/>
          </ac:spMkLst>
        </pc:spChg>
        <pc:spChg chg="add del mod modVis">
          <ac:chgData name="Joseph, Tyler" userId="d95ade4d-0576-43d0-bb19-3f7a19f59750" providerId="ADAL" clId="{754C1B76-3236-4A62-9BE9-DF4E7CEDA46E}" dt="2025-03-27T15:21:11.809" v="493"/>
          <ac:spMkLst>
            <pc:docMk/>
            <pc:sldMk cId="2490139094" sldId="274"/>
            <ac:spMk id="6" creationId="{9492361F-CBFA-0A13-AB54-1AB5747B45A2}"/>
          </ac:spMkLst>
        </pc:spChg>
        <pc:spChg chg="add del mod modVis">
          <ac:chgData name="Joseph, Tyler" userId="d95ade4d-0576-43d0-bb19-3f7a19f59750" providerId="ADAL" clId="{754C1B76-3236-4A62-9BE9-DF4E7CEDA46E}" dt="2025-03-27T15:21:13.245" v="525"/>
          <ac:spMkLst>
            <pc:docMk/>
            <pc:sldMk cId="2490139094" sldId="274"/>
            <ac:spMk id="7" creationId="{45663AC3-FEFB-3355-30D1-1FEC6FEEE9AF}"/>
          </ac:spMkLst>
        </pc:spChg>
        <pc:spChg chg="del">
          <ac:chgData name="Joseph, Tyler" userId="d95ade4d-0576-43d0-bb19-3f7a19f59750" providerId="ADAL" clId="{754C1B76-3236-4A62-9BE9-DF4E7CEDA46E}" dt="2025-03-27T15:20:58.996" v="404" actId="478"/>
          <ac:spMkLst>
            <pc:docMk/>
            <pc:sldMk cId="2490139094" sldId="274"/>
            <ac:spMk id="15" creationId="{C38938F8-C6C2-F544-736D-18C1E54C346B}"/>
          </ac:spMkLst>
        </pc:spChg>
        <pc:graphicFrameChg chg="mod">
          <ac:chgData name="Joseph, Tyler" userId="d95ade4d-0576-43d0-bb19-3f7a19f59750" providerId="ADAL" clId="{754C1B76-3236-4A62-9BE9-DF4E7CEDA46E}" dt="2025-03-27T15:21:13.246" v="527"/>
          <ac:graphicFrameMkLst>
            <pc:docMk/>
            <pc:sldMk cId="2490139094" sldId="274"/>
            <ac:graphicFrameMk id="4" creationId="{D2A08591-6A26-5C10-412D-83AC52C23D4F}"/>
          </ac:graphicFrameMkLst>
        </pc:graphicFrameChg>
      </pc:sldChg>
      <pc:sldChg chg="addSp modSp add del modTransition">
        <pc:chgData name="Joseph, Tyler" userId="d95ade4d-0576-43d0-bb19-3f7a19f59750" providerId="ADAL" clId="{754C1B76-3236-4A62-9BE9-DF4E7CEDA46E}" dt="2025-03-27T16:28:58.623" v="2887" actId="47"/>
        <pc:sldMkLst>
          <pc:docMk/>
          <pc:sldMk cId="1456328563" sldId="276"/>
        </pc:sldMkLst>
        <pc:spChg chg="add mod">
          <ac:chgData name="Joseph, Tyler" userId="d95ade4d-0576-43d0-bb19-3f7a19f59750" providerId="ADAL" clId="{754C1B76-3236-4A62-9BE9-DF4E7CEDA46E}" dt="2025-03-27T15:16:20.681" v="35"/>
          <ac:spMkLst>
            <pc:docMk/>
            <pc:sldMk cId="1456328563" sldId="276"/>
            <ac:spMk id="3" creationId="{E89D1854-0042-0D9A-7460-EB5E98068053}"/>
          </ac:spMkLst>
        </pc:spChg>
        <pc:graphicFrameChg chg="add mod">
          <ac:chgData name="Joseph, Tyler" userId="d95ade4d-0576-43d0-bb19-3f7a19f59750" providerId="ADAL" clId="{754C1B76-3236-4A62-9BE9-DF4E7CEDA46E}" dt="2025-03-27T15:16:20.681" v="35"/>
          <ac:graphicFrameMkLst>
            <pc:docMk/>
            <pc:sldMk cId="1456328563" sldId="276"/>
            <ac:graphicFrameMk id="2" creationId="{9A24126F-376D-E402-E94A-9023583A8504}"/>
          </ac:graphicFrameMkLst>
        </pc:graphicFrameChg>
      </pc:sldChg>
      <pc:sldChg chg="del">
        <pc:chgData name="Joseph, Tyler" userId="d95ade4d-0576-43d0-bb19-3f7a19f59750" providerId="ADAL" clId="{754C1B76-3236-4A62-9BE9-DF4E7CEDA46E}" dt="2025-03-27T15:14:41.647" v="28" actId="47"/>
        <pc:sldMkLst>
          <pc:docMk/>
          <pc:sldMk cId="212898752" sldId="277"/>
        </pc:sldMkLst>
      </pc:sldChg>
      <pc:sldChg chg="del">
        <pc:chgData name="Joseph, Tyler" userId="d95ade4d-0576-43d0-bb19-3f7a19f59750" providerId="ADAL" clId="{754C1B76-3236-4A62-9BE9-DF4E7CEDA46E}" dt="2025-03-27T15:14:37.339" v="23" actId="47"/>
        <pc:sldMkLst>
          <pc:docMk/>
          <pc:sldMk cId="2999945491" sldId="278"/>
        </pc:sldMkLst>
      </pc:sldChg>
      <pc:sldChg chg="del">
        <pc:chgData name="Joseph, Tyler" userId="d95ade4d-0576-43d0-bb19-3f7a19f59750" providerId="ADAL" clId="{754C1B76-3236-4A62-9BE9-DF4E7CEDA46E}" dt="2025-03-27T15:13:43.378" v="9" actId="47"/>
        <pc:sldMkLst>
          <pc:docMk/>
          <pc:sldMk cId="3379922255" sldId="279"/>
        </pc:sldMkLst>
      </pc:sldChg>
      <pc:sldChg chg="del">
        <pc:chgData name="Joseph, Tyler" userId="d95ade4d-0576-43d0-bb19-3f7a19f59750" providerId="ADAL" clId="{754C1B76-3236-4A62-9BE9-DF4E7CEDA46E}" dt="2025-03-27T15:13:18.038" v="5" actId="47"/>
        <pc:sldMkLst>
          <pc:docMk/>
          <pc:sldMk cId="1958060274" sldId="293"/>
        </pc:sldMkLst>
      </pc:sldChg>
      <pc:sldChg chg="del">
        <pc:chgData name="Joseph, Tyler" userId="d95ade4d-0576-43d0-bb19-3f7a19f59750" providerId="ADAL" clId="{754C1B76-3236-4A62-9BE9-DF4E7CEDA46E}" dt="2025-03-27T15:13:17.909" v="4" actId="47"/>
        <pc:sldMkLst>
          <pc:docMk/>
          <pc:sldMk cId="1551691387" sldId="298"/>
        </pc:sldMkLst>
      </pc:sldChg>
      <pc:sldChg chg="addSp delSp modSp mod">
        <pc:chgData name="Joseph, Tyler" userId="d95ade4d-0576-43d0-bb19-3f7a19f59750" providerId="ADAL" clId="{754C1B76-3236-4A62-9BE9-DF4E7CEDA46E}" dt="2025-03-27T17:07:09.960" v="3228" actId="207"/>
        <pc:sldMkLst>
          <pc:docMk/>
          <pc:sldMk cId="1929394106" sldId="343"/>
        </pc:sldMkLst>
        <pc:spChg chg="mod">
          <ac:chgData name="Joseph, Tyler" userId="d95ade4d-0576-43d0-bb19-3f7a19f59750" providerId="ADAL" clId="{754C1B76-3236-4A62-9BE9-DF4E7CEDA46E}" dt="2025-03-27T16:44:52.548" v="3161" actId="948"/>
          <ac:spMkLst>
            <pc:docMk/>
            <pc:sldMk cId="1929394106" sldId="343"/>
            <ac:spMk id="2" creationId="{057FDE06-AAEB-1E3C-0201-432E72A2ECC1}"/>
          </ac:spMkLst>
        </pc:spChg>
        <pc:spChg chg="mod">
          <ac:chgData name="Joseph, Tyler" userId="d95ade4d-0576-43d0-bb19-3f7a19f59750" providerId="ADAL" clId="{754C1B76-3236-4A62-9BE9-DF4E7CEDA46E}" dt="2025-03-27T16:22:22.894" v="2145" actId="20577"/>
          <ac:spMkLst>
            <pc:docMk/>
            <pc:sldMk cId="1929394106" sldId="343"/>
            <ac:spMk id="6" creationId="{076D5C58-9168-1DB2-FF8E-D6030111BF28}"/>
          </ac:spMkLst>
        </pc:spChg>
        <pc:spChg chg="del">
          <ac:chgData name="Joseph, Tyler" userId="d95ade4d-0576-43d0-bb19-3f7a19f59750" providerId="ADAL" clId="{754C1B76-3236-4A62-9BE9-DF4E7CEDA46E}" dt="2025-03-27T16:19:21.136" v="1988" actId="478"/>
          <ac:spMkLst>
            <pc:docMk/>
            <pc:sldMk cId="1929394106" sldId="343"/>
            <ac:spMk id="7" creationId="{4C94BF1D-9704-2862-ED43-C0276453E77C}"/>
          </ac:spMkLst>
        </pc:spChg>
        <pc:spChg chg="del">
          <ac:chgData name="Joseph, Tyler" userId="d95ade4d-0576-43d0-bb19-3f7a19f59750" providerId="ADAL" clId="{754C1B76-3236-4A62-9BE9-DF4E7CEDA46E}" dt="2025-03-27T16:19:02.748" v="1890" actId="478"/>
          <ac:spMkLst>
            <pc:docMk/>
            <pc:sldMk cId="1929394106" sldId="343"/>
            <ac:spMk id="11" creationId="{3BA9E9AC-B2E7-B6E5-480E-1EEA32AF8721}"/>
          </ac:spMkLst>
        </pc:spChg>
        <pc:spChg chg="mod">
          <ac:chgData name="Joseph, Tyler" userId="d95ade4d-0576-43d0-bb19-3f7a19f59750" providerId="ADAL" clId="{754C1B76-3236-4A62-9BE9-DF4E7CEDA46E}" dt="2025-03-27T16:22:15.854" v="2138" actId="404"/>
          <ac:spMkLst>
            <pc:docMk/>
            <pc:sldMk cId="1929394106" sldId="343"/>
            <ac:spMk id="12" creationId="{B7B0E4F4-ED6D-E9E9-7AE3-ABD571F88961}"/>
          </ac:spMkLst>
        </pc:spChg>
        <pc:spChg chg="del">
          <ac:chgData name="Joseph, Tyler" userId="d95ade4d-0576-43d0-bb19-3f7a19f59750" providerId="ADAL" clId="{754C1B76-3236-4A62-9BE9-DF4E7CEDA46E}" dt="2025-03-27T16:19:02.748" v="1890" actId="478"/>
          <ac:spMkLst>
            <pc:docMk/>
            <pc:sldMk cId="1929394106" sldId="343"/>
            <ac:spMk id="13" creationId="{855B4878-BD03-A1B5-5FBC-EA5ED081964A}"/>
          </ac:spMkLst>
        </pc:spChg>
        <pc:spChg chg="del">
          <ac:chgData name="Joseph, Tyler" userId="d95ade4d-0576-43d0-bb19-3f7a19f59750" providerId="ADAL" clId="{754C1B76-3236-4A62-9BE9-DF4E7CEDA46E}" dt="2025-03-27T16:19:02.748" v="1890" actId="478"/>
          <ac:spMkLst>
            <pc:docMk/>
            <pc:sldMk cId="1929394106" sldId="343"/>
            <ac:spMk id="14" creationId="{3EF57D3E-93BA-0DF0-06AC-7037F6F250E7}"/>
          </ac:spMkLst>
        </pc:spChg>
        <pc:spChg chg="mod">
          <ac:chgData name="Joseph, Tyler" userId="d95ade4d-0576-43d0-bb19-3f7a19f59750" providerId="ADAL" clId="{754C1B76-3236-4A62-9BE9-DF4E7CEDA46E}" dt="2025-03-27T16:21:12.673" v="2126" actId="1076"/>
          <ac:spMkLst>
            <pc:docMk/>
            <pc:sldMk cId="1929394106" sldId="343"/>
            <ac:spMk id="15" creationId="{33F0A7EE-1539-7B70-26B4-6A23F4F72BCA}"/>
          </ac:spMkLst>
        </pc:spChg>
        <pc:spChg chg="add del mod modVis">
          <ac:chgData name="Joseph, Tyler" userId="d95ade4d-0576-43d0-bb19-3f7a19f59750" providerId="ADAL" clId="{754C1B76-3236-4A62-9BE9-DF4E7CEDA46E}" dt="2025-03-27T16:19:16.646" v="1942"/>
          <ac:spMkLst>
            <pc:docMk/>
            <pc:sldMk cId="1929394106" sldId="343"/>
            <ac:spMk id="16" creationId="{F4A22FD6-2B70-DFBA-4C46-E687724E97B7}"/>
          </ac:spMkLst>
        </pc:spChg>
        <pc:spChg chg="add del mod modVis">
          <ac:chgData name="Joseph, Tyler" userId="d95ade4d-0576-43d0-bb19-3f7a19f59750" providerId="ADAL" clId="{754C1B76-3236-4A62-9BE9-DF4E7CEDA46E}" dt="2025-03-27T16:19:19.368" v="1983" actId="962"/>
          <ac:spMkLst>
            <pc:docMk/>
            <pc:sldMk cId="1929394106" sldId="343"/>
            <ac:spMk id="17" creationId="{3EE14629-51C0-6DA8-A4A6-9DFA1602513A}"/>
          </ac:spMkLst>
        </pc:spChg>
        <pc:spChg chg="mod">
          <ac:chgData name="Joseph, Tyler" userId="d95ade4d-0576-43d0-bb19-3f7a19f59750" providerId="ADAL" clId="{754C1B76-3236-4A62-9BE9-DF4E7CEDA46E}" dt="2025-03-27T16:21:12.673" v="2126" actId="1076"/>
          <ac:spMkLst>
            <pc:docMk/>
            <pc:sldMk cId="1929394106" sldId="343"/>
            <ac:spMk id="20" creationId="{8489B4CF-A3BC-BA95-E7FF-B48C2884BB0B}"/>
          </ac:spMkLst>
        </pc:spChg>
        <pc:spChg chg="add mod">
          <ac:chgData name="Joseph, Tyler" userId="d95ade4d-0576-43d0-bb19-3f7a19f59750" providerId="ADAL" clId="{754C1B76-3236-4A62-9BE9-DF4E7CEDA46E}" dt="2025-03-27T16:45:24.765" v="3190" actId="20577"/>
          <ac:spMkLst>
            <pc:docMk/>
            <pc:sldMk cId="1929394106" sldId="343"/>
            <ac:spMk id="22" creationId="{8D43CB2C-9CF0-B43D-AE4C-E7A3C77C5032}"/>
          </ac:spMkLst>
        </pc:spChg>
        <pc:spChg chg="del">
          <ac:chgData name="Joseph, Tyler" userId="d95ade4d-0576-43d0-bb19-3f7a19f59750" providerId="ADAL" clId="{754C1B76-3236-4A62-9BE9-DF4E7CEDA46E}" dt="2025-03-27T16:19:02.748" v="1890" actId="478"/>
          <ac:spMkLst>
            <pc:docMk/>
            <pc:sldMk cId="1929394106" sldId="343"/>
            <ac:spMk id="25" creationId="{AEE21AEC-7D09-AFE7-3B82-8C0E7B561C77}"/>
          </ac:spMkLst>
        </pc:spChg>
        <pc:spChg chg="del">
          <ac:chgData name="Joseph, Tyler" userId="d95ade4d-0576-43d0-bb19-3f7a19f59750" providerId="ADAL" clId="{754C1B76-3236-4A62-9BE9-DF4E7CEDA46E}" dt="2025-03-27T16:19:02.748" v="1890" actId="478"/>
          <ac:spMkLst>
            <pc:docMk/>
            <pc:sldMk cId="1929394106" sldId="343"/>
            <ac:spMk id="26" creationId="{67973C1D-892A-FB83-8CFB-DC66B767AEEE}"/>
          </ac:spMkLst>
        </pc:spChg>
        <pc:spChg chg="del">
          <ac:chgData name="Joseph, Tyler" userId="d95ade4d-0576-43d0-bb19-3f7a19f59750" providerId="ADAL" clId="{754C1B76-3236-4A62-9BE9-DF4E7CEDA46E}" dt="2025-03-27T16:19:02.748" v="1890" actId="478"/>
          <ac:spMkLst>
            <pc:docMk/>
            <pc:sldMk cId="1929394106" sldId="343"/>
            <ac:spMk id="27" creationId="{B951AAA2-4BF1-BDB0-CE47-928A30514E07}"/>
          </ac:spMkLst>
        </pc:spChg>
        <pc:spChg chg="add del mod">
          <ac:chgData name="Joseph, Tyler" userId="d95ade4d-0576-43d0-bb19-3f7a19f59750" providerId="ADAL" clId="{754C1B76-3236-4A62-9BE9-DF4E7CEDA46E}" dt="2025-03-27T16:41:11.812" v="2921" actId="478"/>
          <ac:spMkLst>
            <pc:docMk/>
            <pc:sldMk cId="1929394106" sldId="343"/>
            <ac:spMk id="35" creationId="{96543AE0-9EED-6682-7D01-5C8AAEB64314}"/>
          </ac:spMkLst>
        </pc:spChg>
        <pc:spChg chg="add del mod modVis">
          <ac:chgData name="Joseph, Tyler" userId="d95ade4d-0576-43d0-bb19-3f7a19f59750" providerId="ADAL" clId="{754C1B76-3236-4A62-9BE9-DF4E7CEDA46E}" dt="2025-03-27T16:44:52.578" v="3184"/>
          <ac:spMkLst>
            <pc:docMk/>
            <pc:sldMk cId="1929394106" sldId="343"/>
            <ac:spMk id="36" creationId="{40281AA7-CBEA-9247-5169-20388B2AC8F5}"/>
          </ac:spMkLst>
        </pc:spChg>
        <pc:spChg chg="add mod">
          <ac:chgData name="Joseph, Tyler" userId="d95ade4d-0576-43d0-bb19-3f7a19f59750" providerId="ADAL" clId="{754C1B76-3236-4A62-9BE9-DF4E7CEDA46E}" dt="2025-03-27T17:07:09.960" v="3228" actId="207"/>
          <ac:spMkLst>
            <pc:docMk/>
            <pc:sldMk cId="1929394106" sldId="343"/>
            <ac:spMk id="37" creationId="{72A46CF8-6D4A-52D3-6915-47E6907BB91F}"/>
          </ac:spMkLst>
        </pc:spChg>
        <pc:spChg chg="mod">
          <ac:chgData name="Joseph, Tyler" userId="d95ade4d-0576-43d0-bb19-3f7a19f59750" providerId="ADAL" clId="{754C1B76-3236-4A62-9BE9-DF4E7CEDA46E}" dt="2025-03-27T16:22:15.854" v="2138" actId="404"/>
          <ac:spMkLst>
            <pc:docMk/>
            <pc:sldMk cId="1929394106" sldId="343"/>
            <ac:spMk id="50" creationId="{C1AB02F9-2975-72BB-34CA-93AA1E5F712F}"/>
          </ac:spMkLst>
        </pc:spChg>
        <pc:spChg chg="mod">
          <ac:chgData name="Joseph, Tyler" userId="d95ade4d-0576-43d0-bb19-3f7a19f59750" providerId="ADAL" clId="{754C1B76-3236-4A62-9BE9-DF4E7CEDA46E}" dt="2025-03-27T16:21:12.673" v="2126" actId="1076"/>
          <ac:spMkLst>
            <pc:docMk/>
            <pc:sldMk cId="1929394106" sldId="343"/>
            <ac:spMk id="51" creationId="{BCC5792C-9D3E-F361-5460-33C912CD55A8}"/>
          </ac:spMkLst>
        </pc:spChg>
        <pc:spChg chg="mod">
          <ac:chgData name="Joseph, Tyler" userId="d95ade4d-0576-43d0-bb19-3f7a19f59750" providerId="ADAL" clId="{754C1B76-3236-4A62-9BE9-DF4E7CEDA46E}" dt="2025-03-27T16:21:12.673" v="2126" actId="1076"/>
          <ac:spMkLst>
            <pc:docMk/>
            <pc:sldMk cId="1929394106" sldId="343"/>
            <ac:spMk id="52" creationId="{2E8AB650-95E5-3362-8B64-BAF105EB2081}"/>
          </ac:spMkLst>
        </pc:spChg>
        <pc:spChg chg="add del">
          <ac:chgData name="Joseph, Tyler" userId="d95ade4d-0576-43d0-bb19-3f7a19f59750" providerId="ADAL" clId="{754C1B76-3236-4A62-9BE9-DF4E7CEDA46E}" dt="2025-03-27T16:19:27.817" v="1991" actId="478"/>
          <ac:spMkLst>
            <pc:docMk/>
            <pc:sldMk cId="1929394106" sldId="343"/>
            <ac:spMk id="450" creationId="{2BC6D353-B692-3A1E-C3B6-E82FCFEC3BE9}"/>
          </ac:spMkLst>
        </pc:spChg>
        <pc:spChg chg="del">
          <ac:chgData name="Joseph, Tyler" userId="d95ade4d-0576-43d0-bb19-3f7a19f59750" providerId="ADAL" clId="{754C1B76-3236-4A62-9BE9-DF4E7CEDA46E}" dt="2025-03-27T16:19:02.748" v="1890" actId="478"/>
          <ac:spMkLst>
            <pc:docMk/>
            <pc:sldMk cId="1929394106" sldId="343"/>
            <ac:spMk id="469" creationId="{89F03992-C178-4387-793A-52C34C0FD626}"/>
          </ac:spMkLst>
        </pc:spChg>
        <pc:spChg chg="del">
          <ac:chgData name="Joseph, Tyler" userId="d95ade4d-0576-43d0-bb19-3f7a19f59750" providerId="ADAL" clId="{754C1B76-3236-4A62-9BE9-DF4E7CEDA46E}" dt="2025-03-27T16:19:02.748" v="1890" actId="478"/>
          <ac:spMkLst>
            <pc:docMk/>
            <pc:sldMk cId="1929394106" sldId="343"/>
            <ac:spMk id="470" creationId="{A1DAE572-0303-8AC2-759B-8FC569FC02C3}"/>
          </ac:spMkLst>
        </pc:spChg>
        <pc:spChg chg="del">
          <ac:chgData name="Joseph, Tyler" userId="d95ade4d-0576-43d0-bb19-3f7a19f59750" providerId="ADAL" clId="{754C1B76-3236-4A62-9BE9-DF4E7CEDA46E}" dt="2025-03-27T16:19:02.748" v="1890" actId="478"/>
          <ac:spMkLst>
            <pc:docMk/>
            <pc:sldMk cId="1929394106" sldId="343"/>
            <ac:spMk id="473" creationId="{94D33DEE-1183-8595-8D99-A4DABE753E3E}"/>
          </ac:spMkLst>
        </pc:spChg>
        <pc:grpChg chg="del">
          <ac:chgData name="Joseph, Tyler" userId="d95ade4d-0576-43d0-bb19-3f7a19f59750" providerId="ADAL" clId="{754C1B76-3236-4A62-9BE9-DF4E7CEDA46E}" dt="2025-03-27T16:19:02.748" v="1890" actId="478"/>
          <ac:grpSpMkLst>
            <pc:docMk/>
            <pc:sldMk cId="1929394106" sldId="343"/>
            <ac:grpSpMk id="59" creationId="{19BC8D06-74B0-A682-E351-373ECD349790}"/>
          </ac:grpSpMkLst>
        </pc:grpChg>
        <pc:graphicFrameChg chg="mod">
          <ac:chgData name="Joseph, Tyler" userId="d95ade4d-0576-43d0-bb19-3f7a19f59750" providerId="ADAL" clId="{754C1B76-3236-4A62-9BE9-DF4E7CEDA46E}" dt="2025-03-27T16:44:52.578" v="3186"/>
          <ac:graphicFrameMkLst>
            <pc:docMk/>
            <pc:sldMk cId="1929394106" sldId="343"/>
            <ac:graphicFrameMk id="4" creationId="{1E7CE4E3-B01A-7B11-46EC-442A76C00168}"/>
          </ac:graphicFrameMkLst>
        </pc:graphicFrameChg>
        <pc:graphicFrameChg chg="del">
          <ac:chgData name="Joseph, Tyler" userId="d95ade4d-0576-43d0-bb19-3f7a19f59750" providerId="ADAL" clId="{754C1B76-3236-4A62-9BE9-DF4E7CEDA46E}" dt="2025-03-27T16:19:16.646" v="1940"/>
          <ac:graphicFrameMkLst>
            <pc:docMk/>
            <pc:sldMk cId="1929394106" sldId="343"/>
            <ac:graphicFrameMk id="5" creationId="{F9DD7EDD-9E04-B095-1B8A-35B91117D491}"/>
          </ac:graphicFrameMkLst>
        </pc:graphicFrameChg>
        <pc:graphicFrameChg chg="add mod modGraphic">
          <ac:chgData name="Joseph, Tyler" userId="d95ade4d-0576-43d0-bb19-3f7a19f59750" providerId="ADAL" clId="{754C1B76-3236-4A62-9BE9-DF4E7CEDA46E}" dt="2025-03-27T16:26:59.817" v="2830"/>
          <ac:graphicFrameMkLst>
            <pc:docMk/>
            <pc:sldMk cId="1929394106" sldId="343"/>
            <ac:graphicFrameMk id="28" creationId="{C6A470FB-6621-212B-5AFD-D6E97B7DE5F6}"/>
          </ac:graphicFrameMkLst>
        </pc:graphicFrameChg>
        <pc:graphicFrameChg chg="add mod modGraphic">
          <ac:chgData name="Joseph, Tyler" userId="d95ade4d-0576-43d0-bb19-3f7a19f59750" providerId="ADAL" clId="{754C1B76-3236-4A62-9BE9-DF4E7CEDA46E}" dt="2025-03-27T16:27:50.661" v="2859" actId="20577"/>
          <ac:graphicFrameMkLst>
            <pc:docMk/>
            <pc:sldMk cId="1929394106" sldId="343"/>
            <ac:graphicFrameMk id="29" creationId="{45676265-834E-D05B-56E8-0281CD9DBE39}"/>
          </ac:graphicFrameMkLst>
        </pc:graphicFrameChg>
        <pc:graphicFrameChg chg="add mod modGraphic">
          <ac:chgData name="Joseph, Tyler" userId="d95ade4d-0576-43d0-bb19-3f7a19f59750" providerId="ADAL" clId="{754C1B76-3236-4A62-9BE9-DF4E7CEDA46E}" dt="2025-03-27T16:28:25.445" v="2885" actId="20577"/>
          <ac:graphicFrameMkLst>
            <pc:docMk/>
            <pc:sldMk cId="1929394106" sldId="343"/>
            <ac:graphicFrameMk id="30" creationId="{39A4B5B9-BEF3-E006-7C2F-1376162AFE46}"/>
          </ac:graphicFrameMkLst>
        </pc:graphicFrameChg>
        <pc:graphicFrameChg chg="add del mod">
          <ac:chgData name="Joseph, Tyler" userId="d95ade4d-0576-43d0-bb19-3f7a19f59750" providerId="ADAL" clId="{754C1B76-3236-4A62-9BE9-DF4E7CEDA46E}" dt="2025-03-27T16:44:52.578" v="3182"/>
          <ac:graphicFrameMkLst>
            <pc:docMk/>
            <pc:sldMk cId="1929394106" sldId="343"/>
            <ac:graphicFrameMk id="34" creationId="{26BB73F4-C296-A595-BA4C-2EE4C969A3D5}"/>
          </ac:graphicFrameMkLst>
        </pc:graphicFrameChg>
        <pc:graphicFrameChg chg="del">
          <ac:chgData name="Joseph, Tyler" userId="d95ade4d-0576-43d0-bb19-3f7a19f59750" providerId="ADAL" clId="{754C1B76-3236-4A62-9BE9-DF4E7CEDA46E}" dt="2025-03-27T16:19:16.646" v="1938"/>
          <ac:graphicFrameMkLst>
            <pc:docMk/>
            <pc:sldMk cId="1929394106" sldId="343"/>
            <ac:graphicFrameMk id="54" creationId="{C931755D-6E58-C8D1-4146-0DE1D032F0FA}"/>
          </ac:graphicFrameMkLst>
        </pc:graphicFrameChg>
        <pc:cxnChg chg="mod">
          <ac:chgData name="Joseph, Tyler" userId="d95ade4d-0576-43d0-bb19-3f7a19f59750" providerId="ADAL" clId="{754C1B76-3236-4A62-9BE9-DF4E7CEDA46E}" dt="2025-03-27T16:21:04.785" v="2123"/>
          <ac:cxnSpMkLst>
            <pc:docMk/>
            <pc:sldMk cId="1929394106" sldId="343"/>
            <ac:cxnSpMk id="3" creationId="{70DB034E-BAD7-310C-4F9C-9533F92200AD}"/>
          </ac:cxnSpMkLst>
        </pc:cxnChg>
        <pc:cxnChg chg="add del mod">
          <ac:chgData name="Joseph, Tyler" userId="d95ade4d-0576-43d0-bb19-3f7a19f59750" providerId="ADAL" clId="{754C1B76-3236-4A62-9BE9-DF4E7CEDA46E}" dt="2025-03-27T16:21:12.673" v="2126" actId="1076"/>
          <ac:cxnSpMkLst>
            <pc:docMk/>
            <pc:sldMk cId="1929394106" sldId="343"/>
            <ac:cxnSpMk id="8" creationId="{C1AEE82F-9323-79CA-68DB-28481A6EF7C2}"/>
          </ac:cxnSpMkLst>
        </pc:cxnChg>
        <pc:cxnChg chg="add del">
          <ac:chgData name="Joseph, Tyler" userId="d95ade4d-0576-43d0-bb19-3f7a19f59750" providerId="ADAL" clId="{754C1B76-3236-4A62-9BE9-DF4E7CEDA46E}" dt="2025-03-27T16:20:44.206" v="2120" actId="478"/>
          <ac:cxnSpMkLst>
            <pc:docMk/>
            <pc:sldMk cId="1929394106" sldId="343"/>
            <ac:cxnSpMk id="423" creationId="{F0B6E954-2B0B-5E84-66F1-5F47A801464D}"/>
          </ac:cxnSpMkLst>
        </pc:cxnChg>
        <pc:cxnChg chg="add del mod">
          <ac:chgData name="Joseph, Tyler" userId="d95ade4d-0576-43d0-bb19-3f7a19f59750" providerId="ADAL" clId="{754C1B76-3236-4A62-9BE9-DF4E7CEDA46E}" dt="2025-03-27T16:20:40.116" v="2119" actId="1076"/>
          <ac:cxnSpMkLst>
            <pc:docMk/>
            <pc:sldMk cId="1929394106" sldId="343"/>
            <ac:cxnSpMk id="432" creationId="{AA1CA305-F1A3-0C79-819E-4B750177B324}"/>
          </ac:cxnSpMkLst>
        </pc:cxnChg>
        <pc:cxnChg chg="add del mod">
          <ac:chgData name="Joseph, Tyler" userId="d95ade4d-0576-43d0-bb19-3f7a19f59750" providerId="ADAL" clId="{754C1B76-3236-4A62-9BE9-DF4E7CEDA46E}" dt="2025-03-27T16:21:12.673" v="2126" actId="1076"/>
          <ac:cxnSpMkLst>
            <pc:docMk/>
            <pc:sldMk cId="1929394106" sldId="343"/>
            <ac:cxnSpMk id="438" creationId="{8CB4B87B-ECF0-9123-B032-422915C6FE92}"/>
          </ac:cxnSpMkLst>
        </pc:cxnChg>
        <pc:cxnChg chg="mod">
          <ac:chgData name="Joseph, Tyler" userId="d95ade4d-0576-43d0-bb19-3f7a19f59750" providerId="ADAL" clId="{754C1B76-3236-4A62-9BE9-DF4E7CEDA46E}" dt="2025-03-27T16:21:12.673" v="2126" actId="1076"/>
          <ac:cxnSpMkLst>
            <pc:docMk/>
            <pc:sldMk cId="1929394106" sldId="343"/>
            <ac:cxnSpMk id="456" creationId="{880F9C0F-5BC5-0A3F-5819-B9AD64D95855}"/>
          </ac:cxnSpMkLst>
        </pc:cxnChg>
      </pc:sldChg>
      <pc:sldChg chg="addSp modSp del">
        <pc:chgData name="Joseph, Tyler" userId="d95ade4d-0576-43d0-bb19-3f7a19f59750" providerId="ADAL" clId="{754C1B76-3236-4A62-9BE9-DF4E7CEDA46E}" dt="2025-03-27T15:20:47.414" v="403" actId="47"/>
        <pc:sldMkLst>
          <pc:docMk/>
          <pc:sldMk cId="749523151" sldId="2147481866"/>
        </pc:sldMkLst>
        <pc:spChg chg="add mod">
          <ac:chgData name="Joseph, Tyler" userId="d95ade4d-0576-43d0-bb19-3f7a19f59750" providerId="ADAL" clId="{754C1B76-3236-4A62-9BE9-DF4E7CEDA46E}" dt="2025-03-27T15:13:33.379" v="8"/>
          <ac:spMkLst>
            <pc:docMk/>
            <pc:sldMk cId="749523151" sldId="2147481866"/>
            <ac:spMk id="5" creationId="{372CEF6C-104D-7BCA-6CEB-4E0BC58B1327}"/>
          </ac:spMkLst>
        </pc:spChg>
        <pc:graphicFrameChg chg="add mod">
          <ac:chgData name="Joseph, Tyler" userId="d95ade4d-0576-43d0-bb19-3f7a19f59750" providerId="ADAL" clId="{754C1B76-3236-4A62-9BE9-DF4E7CEDA46E}" dt="2025-03-27T15:13:33.379" v="8"/>
          <ac:graphicFrameMkLst>
            <pc:docMk/>
            <pc:sldMk cId="749523151" sldId="2147481866"/>
            <ac:graphicFrameMk id="4" creationId="{049578BA-3806-9AE3-D7C3-5B5C7EFD9C75}"/>
          </ac:graphicFrameMkLst>
        </pc:graphicFrameChg>
      </pc:sldChg>
      <pc:sldChg chg="del">
        <pc:chgData name="Joseph, Tyler" userId="d95ade4d-0576-43d0-bb19-3f7a19f59750" providerId="ADAL" clId="{754C1B76-3236-4A62-9BE9-DF4E7CEDA46E}" dt="2025-03-27T15:14:38.208" v="24" actId="47"/>
        <pc:sldMkLst>
          <pc:docMk/>
          <pc:sldMk cId="3502058378" sldId="2147483520"/>
        </pc:sldMkLst>
      </pc:sldChg>
      <pc:sldChg chg="del">
        <pc:chgData name="Joseph, Tyler" userId="d95ade4d-0576-43d0-bb19-3f7a19f59750" providerId="ADAL" clId="{754C1B76-3236-4A62-9BE9-DF4E7CEDA46E}" dt="2025-03-27T15:14:38.539" v="25" actId="47"/>
        <pc:sldMkLst>
          <pc:docMk/>
          <pc:sldMk cId="2705358938" sldId="2147483521"/>
        </pc:sldMkLst>
      </pc:sldChg>
      <pc:sldChg chg="del">
        <pc:chgData name="Joseph, Tyler" userId="d95ade4d-0576-43d0-bb19-3f7a19f59750" providerId="ADAL" clId="{754C1B76-3236-4A62-9BE9-DF4E7CEDA46E}" dt="2025-03-27T15:14:39.518" v="26" actId="47"/>
        <pc:sldMkLst>
          <pc:docMk/>
          <pc:sldMk cId="2267356915" sldId="2147483522"/>
        </pc:sldMkLst>
      </pc:sldChg>
      <pc:sldChg chg="del">
        <pc:chgData name="Joseph, Tyler" userId="d95ade4d-0576-43d0-bb19-3f7a19f59750" providerId="ADAL" clId="{754C1B76-3236-4A62-9BE9-DF4E7CEDA46E}" dt="2025-03-27T15:14:33.077" v="17" actId="47"/>
        <pc:sldMkLst>
          <pc:docMk/>
          <pc:sldMk cId="745365175" sldId="2147483584"/>
        </pc:sldMkLst>
      </pc:sldChg>
      <pc:sldChg chg="del">
        <pc:chgData name="Joseph, Tyler" userId="d95ade4d-0576-43d0-bb19-3f7a19f59750" providerId="ADAL" clId="{754C1B76-3236-4A62-9BE9-DF4E7CEDA46E}" dt="2025-03-27T15:14:17.619" v="16" actId="47"/>
        <pc:sldMkLst>
          <pc:docMk/>
          <pc:sldMk cId="3170179150" sldId="2147483644"/>
        </pc:sldMkLst>
      </pc:sldChg>
      <pc:sldChg chg="addSp delSp modSp mod">
        <pc:chgData name="Joseph, Tyler" userId="d95ade4d-0576-43d0-bb19-3f7a19f59750" providerId="ADAL" clId="{754C1B76-3236-4A62-9BE9-DF4E7CEDA46E}" dt="2025-03-27T16:43:23.287" v="3156" actId="478"/>
        <pc:sldMkLst>
          <pc:docMk/>
          <pc:sldMk cId="602199810" sldId="2147483647"/>
        </pc:sldMkLst>
        <pc:spChg chg="mod">
          <ac:chgData name="Joseph, Tyler" userId="d95ade4d-0576-43d0-bb19-3f7a19f59750" providerId="ADAL" clId="{754C1B76-3236-4A62-9BE9-DF4E7CEDA46E}" dt="2025-03-27T16:17:23.871" v="1537" actId="948"/>
          <ac:spMkLst>
            <pc:docMk/>
            <pc:sldMk cId="602199810" sldId="2147483647"/>
            <ac:spMk id="2" creationId="{BADA7A44-4C3A-3BF9-0A4C-C1FA7ADC453D}"/>
          </ac:spMkLst>
        </pc:spChg>
        <pc:spChg chg="mod">
          <ac:chgData name="Joseph, Tyler" userId="d95ade4d-0576-43d0-bb19-3f7a19f59750" providerId="ADAL" clId="{754C1B76-3236-4A62-9BE9-DF4E7CEDA46E}" dt="2025-03-27T16:15:38.295" v="1443" actId="1036"/>
          <ac:spMkLst>
            <pc:docMk/>
            <pc:sldMk cId="602199810" sldId="2147483647"/>
            <ac:spMk id="6" creationId="{0AD3A10D-E2FB-44ED-B17E-23A42C8A6287}"/>
          </ac:spMkLst>
        </pc:spChg>
        <pc:spChg chg="mod">
          <ac:chgData name="Joseph, Tyler" userId="d95ade4d-0576-43d0-bb19-3f7a19f59750" providerId="ADAL" clId="{754C1B76-3236-4A62-9BE9-DF4E7CEDA46E}" dt="2025-03-27T16:15:38.295" v="1443" actId="1036"/>
          <ac:spMkLst>
            <pc:docMk/>
            <pc:sldMk cId="602199810" sldId="2147483647"/>
            <ac:spMk id="7" creationId="{E668CC6E-5D2A-4F47-99D1-F7AE789A9623}"/>
          </ac:spMkLst>
        </pc:spChg>
        <pc:spChg chg="add del mod">
          <ac:chgData name="Joseph, Tyler" userId="d95ade4d-0576-43d0-bb19-3f7a19f59750" providerId="ADAL" clId="{754C1B76-3236-4A62-9BE9-DF4E7CEDA46E}" dt="2025-03-27T16:10:56.144" v="1346" actId="478"/>
          <ac:spMkLst>
            <pc:docMk/>
            <pc:sldMk cId="602199810" sldId="2147483647"/>
            <ac:spMk id="8" creationId="{EF35A305-9332-6F02-B963-6B82A2DF9D17}"/>
          </ac:spMkLst>
        </pc:spChg>
        <pc:spChg chg="mod">
          <ac:chgData name="Joseph, Tyler" userId="d95ade4d-0576-43d0-bb19-3f7a19f59750" providerId="ADAL" clId="{754C1B76-3236-4A62-9BE9-DF4E7CEDA46E}" dt="2025-03-27T16:15:38.295" v="1443" actId="1036"/>
          <ac:spMkLst>
            <pc:docMk/>
            <pc:sldMk cId="602199810" sldId="2147483647"/>
            <ac:spMk id="9" creationId="{67805CCE-BA06-48C9-8351-DDB1741A1556}"/>
          </ac:spMkLst>
        </pc:spChg>
        <pc:spChg chg="add del mod">
          <ac:chgData name="Joseph, Tyler" userId="d95ade4d-0576-43d0-bb19-3f7a19f59750" providerId="ADAL" clId="{754C1B76-3236-4A62-9BE9-DF4E7CEDA46E}" dt="2025-03-27T16:43:23.287" v="3156" actId="478"/>
          <ac:spMkLst>
            <pc:docMk/>
            <pc:sldMk cId="602199810" sldId="2147483647"/>
            <ac:spMk id="14" creationId="{099855EA-1A98-5304-ADD4-273CF942B496}"/>
          </ac:spMkLst>
        </pc:spChg>
        <pc:spChg chg="add del mod modVis">
          <ac:chgData name="Joseph, Tyler" userId="d95ade4d-0576-43d0-bb19-3f7a19f59750" providerId="ADAL" clId="{754C1B76-3236-4A62-9BE9-DF4E7CEDA46E}" dt="2025-03-27T16:17:21.050" v="1507"/>
          <ac:spMkLst>
            <pc:docMk/>
            <pc:sldMk cId="602199810" sldId="2147483647"/>
            <ac:spMk id="15" creationId="{C700E374-0EE8-0E3C-E1B6-0D6F403D15F9}"/>
          </ac:spMkLst>
        </pc:spChg>
        <pc:spChg chg="add del mod modVis">
          <ac:chgData name="Joseph, Tyler" userId="d95ade4d-0576-43d0-bb19-3f7a19f59750" providerId="ADAL" clId="{754C1B76-3236-4A62-9BE9-DF4E7CEDA46E}" dt="2025-03-27T16:17:21.709" v="1533"/>
          <ac:spMkLst>
            <pc:docMk/>
            <pc:sldMk cId="602199810" sldId="2147483647"/>
            <ac:spMk id="16" creationId="{B7897FCB-2E96-F5CE-03D7-91B360E24276}"/>
          </ac:spMkLst>
        </pc:spChg>
        <pc:spChg chg="add del mod modVis">
          <ac:chgData name="Joseph, Tyler" userId="d95ade4d-0576-43d0-bb19-3f7a19f59750" providerId="ADAL" clId="{754C1B76-3236-4A62-9BE9-DF4E7CEDA46E}" dt="2025-03-27T16:17:23.894" v="1558"/>
          <ac:spMkLst>
            <pc:docMk/>
            <pc:sldMk cId="602199810" sldId="2147483647"/>
            <ac:spMk id="17" creationId="{644095B4-67CD-AB82-30DE-F1B73084B1FD}"/>
          </ac:spMkLst>
        </pc:spChg>
        <pc:spChg chg="add del mod">
          <ac:chgData name="Joseph, Tyler" userId="d95ade4d-0576-43d0-bb19-3f7a19f59750" providerId="ADAL" clId="{754C1B76-3236-4A62-9BE9-DF4E7CEDA46E}" dt="2025-03-27T16:43:20.210" v="3155" actId="478"/>
          <ac:spMkLst>
            <pc:docMk/>
            <pc:sldMk cId="602199810" sldId="2147483647"/>
            <ac:spMk id="19" creationId="{41B3C363-F0AA-C489-CBBF-3A49D3CD6D68}"/>
          </ac:spMkLst>
        </pc:spChg>
        <pc:graphicFrameChg chg="del">
          <ac:chgData name="Joseph, Tyler" userId="d95ade4d-0576-43d0-bb19-3f7a19f59750" providerId="ADAL" clId="{754C1B76-3236-4A62-9BE9-DF4E7CEDA46E}" dt="2025-03-27T16:17:21.050" v="1501"/>
          <ac:graphicFrameMkLst>
            <pc:docMk/>
            <pc:sldMk cId="602199810" sldId="2147483647"/>
            <ac:graphicFrameMk id="3" creationId="{05353DC9-EC89-4FF9-282E-1D3FE57ED02F}"/>
          </ac:graphicFrameMkLst>
        </pc:graphicFrameChg>
        <pc:graphicFrameChg chg="mod">
          <ac:chgData name="Joseph, Tyler" userId="d95ade4d-0576-43d0-bb19-3f7a19f59750" providerId="ADAL" clId="{754C1B76-3236-4A62-9BE9-DF4E7CEDA46E}" dt="2025-03-27T16:17:23.894" v="1560"/>
          <ac:graphicFrameMkLst>
            <pc:docMk/>
            <pc:sldMk cId="602199810" sldId="2147483647"/>
            <ac:graphicFrameMk id="4" creationId="{00A2502A-0879-9B0C-5745-D07892A5E517}"/>
          </ac:graphicFrameMkLst>
        </pc:graphicFrameChg>
        <pc:graphicFrameChg chg="add del mod">
          <ac:chgData name="Joseph, Tyler" userId="d95ade4d-0576-43d0-bb19-3f7a19f59750" providerId="ADAL" clId="{754C1B76-3236-4A62-9BE9-DF4E7CEDA46E}" dt="2025-03-27T16:17:21.050" v="1503"/>
          <ac:graphicFrameMkLst>
            <pc:docMk/>
            <pc:sldMk cId="602199810" sldId="2147483647"/>
            <ac:graphicFrameMk id="5" creationId="{E3DF3A81-9A8C-615F-7F2B-C33F2EE47A35}"/>
          </ac:graphicFrameMkLst>
        </pc:graphicFrameChg>
        <pc:graphicFrameChg chg="mod modGraphic">
          <ac:chgData name="Joseph, Tyler" userId="d95ade4d-0576-43d0-bb19-3f7a19f59750" providerId="ADAL" clId="{754C1B76-3236-4A62-9BE9-DF4E7CEDA46E}" dt="2025-03-27T16:43:17.438" v="3154" actId="20577"/>
          <ac:graphicFrameMkLst>
            <pc:docMk/>
            <pc:sldMk cId="602199810" sldId="2147483647"/>
            <ac:graphicFrameMk id="10" creationId="{26896A1B-421B-DC6E-3D8E-F65CF488BEF6}"/>
          </ac:graphicFrameMkLst>
        </pc:graphicFrameChg>
        <pc:graphicFrameChg chg="add del mod">
          <ac:chgData name="Joseph, Tyler" userId="d95ade4d-0576-43d0-bb19-3f7a19f59750" providerId="ADAL" clId="{754C1B76-3236-4A62-9BE9-DF4E7CEDA46E}" dt="2025-03-27T16:17:21.050" v="1505"/>
          <ac:graphicFrameMkLst>
            <pc:docMk/>
            <pc:sldMk cId="602199810" sldId="2147483647"/>
            <ac:graphicFrameMk id="13" creationId="{3F903266-F377-5247-EF1E-A6DAA2DD1FEF}"/>
          </ac:graphicFrameMkLst>
        </pc:graphicFrameChg>
        <pc:graphicFrameChg chg="add mod">
          <ac:chgData name="Joseph, Tyler" userId="d95ade4d-0576-43d0-bb19-3f7a19f59750" providerId="ADAL" clId="{754C1B76-3236-4A62-9BE9-DF4E7CEDA46E}" dt="2025-03-27T16:35:58.570" v="2888"/>
          <ac:graphicFrameMkLst>
            <pc:docMk/>
            <pc:sldMk cId="602199810" sldId="2147483647"/>
            <ac:graphicFrameMk id="18" creationId="{67D34BE9-AF40-8365-43B0-A9B7AC2D2229}"/>
          </ac:graphicFrameMkLst>
        </pc:graphicFrameChg>
        <pc:picChg chg="mod">
          <ac:chgData name="Joseph, Tyler" userId="d95ade4d-0576-43d0-bb19-3f7a19f59750" providerId="ADAL" clId="{754C1B76-3236-4A62-9BE9-DF4E7CEDA46E}" dt="2025-03-27T16:42:02.888" v="2961"/>
          <ac:picMkLst>
            <pc:docMk/>
            <pc:sldMk cId="602199810" sldId="2147483647"/>
            <ac:picMk id="11" creationId="{D951BE6E-7A6D-4FE5-AA8A-99D51495838A}"/>
          </ac:picMkLst>
        </pc:picChg>
        <pc:picChg chg="mod">
          <ac:chgData name="Joseph, Tyler" userId="d95ade4d-0576-43d0-bb19-3f7a19f59750" providerId="ADAL" clId="{754C1B76-3236-4A62-9BE9-DF4E7CEDA46E}" dt="2025-03-27T16:42:02.888" v="2965"/>
          <ac:picMkLst>
            <pc:docMk/>
            <pc:sldMk cId="602199810" sldId="2147483647"/>
            <ac:picMk id="12" creationId="{834A8275-16FE-44F9-AF2E-4BEA567F5121}"/>
          </ac:picMkLst>
        </pc:picChg>
      </pc:sldChg>
      <pc:sldMasterChg chg="del delSldLayout">
        <pc:chgData name="Joseph, Tyler" userId="d95ade4d-0576-43d0-bb19-3f7a19f59750" providerId="ADAL" clId="{754C1B76-3236-4A62-9BE9-DF4E7CEDA46E}" dt="2025-03-27T15:14:33.729" v="18" actId="47"/>
        <pc:sldMasterMkLst>
          <pc:docMk/>
          <pc:sldMasterMk cId="2328126584" sldId="2147483648"/>
        </pc:sldMasterMkLst>
        <pc:sldLayoutChg chg="del">
          <pc:chgData name="Joseph, Tyler" userId="d95ade4d-0576-43d0-bb19-3f7a19f59750" providerId="ADAL" clId="{754C1B76-3236-4A62-9BE9-DF4E7CEDA46E}" dt="2025-03-27T15:14:33.729" v="18" actId="47"/>
          <pc:sldLayoutMkLst>
            <pc:docMk/>
            <pc:sldMasterMk cId="2328126584" sldId="2147483648"/>
            <pc:sldLayoutMk cId="3849022723" sldId="2147483649"/>
          </pc:sldLayoutMkLst>
        </pc:sldLayoutChg>
        <pc:sldLayoutChg chg="del">
          <pc:chgData name="Joseph, Tyler" userId="d95ade4d-0576-43d0-bb19-3f7a19f59750" providerId="ADAL" clId="{754C1B76-3236-4A62-9BE9-DF4E7CEDA46E}" dt="2025-03-27T15:14:33.729" v="18" actId="47"/>
          <pc:sldLayoutMkLst>
            <pc:docMk/>
            <pc:sldMasterMk cId="2328126584" sldId="2147483648"/>
            <pc:sldLayoutMk cId="3373008558" sldId="2147483650"/>
          </pc:sldLayoutMkLst>
        </pc:sldLayoutChg>
        <pc:sldLayoutChg chg="del">
          <pc:chgData name="Joseph, Tyler" userId="d95ade4d-0576-43d0-bb19-3f7a19f59750" providerId="ADAL" clId="{754C1B76-3236-4A62-9BE9-DF4E7CEDA46E}" dt="2025-03-27T15:14:33.729" v="18" actId="47"/>
          <pc:sldLayoutMkLst>
            <pc:docMk/>
            <pc:sldMasterMk cId="2328126584" sldId="2147483648"/>
            <pc:sldLayoutMk cId="1095643515" sldId="2147483651"/>
          </pc:sldLayoutMkLst>
        </pc:sldLayoutChg>
        <pc:sldLayoutChg chg="del">
          <pc:chgData name="Joseph, Tyler" userId="d95ade4d-0576-43d0-bb19-3f7a19f59750" providerId="ADAL" clId="{754C1B76-3236-4A62-9BE9-DF4E7CEDA46E}" dt="2025-03-27T15:14:33.729" v="18" actId="47"/>
          <pc:sldLayoutMkLst>
            <pc:docMk/>
            <pc:sldMasterMk cId="2328126584" sldId="2147483648"/>
            <pc:sldLayoutMk cId="2818336054" sldId="2147483652"/>
          </pc:sldLayoutMkLst>
        </pc:sldLayoutChg>
        <pc:sldLayoutChg chg="del">
          <pc:chgData name="Joseph, Tyler" userId="d95ade4d-0576-43d0-bb19-3f7a19f59750" providerId="ADAL" clId="{754C1B76-3236-4A62-9BE9-DF4E7CEDA46E}" dt="2025-03-27T15:14:33.729" v="18" actId="47"/>
          <pc:sldLayoutMkLst>
            <pc:docMk/>
            <pc:sldMasterMk cId="2328126584" sldId="2147483648"/>
            <pc:sldLayoutMk cId="542900784" sldId="2147483653"/>
          </pc:sldLayoutMkLst>
        </pc:sldLayoutChg>
        <pc:sldLayoutChg chg="del">
          <pc:chgData name="Joseph, Tyler" userId="d95ade4d-0576-43d0-bb19-3f7a19f59750" providerId="ADAL" clId="{754C1B76-3236-4A62-9BE9-DF4E7CEDA46E}" dt="2025-03-27T15:14:33.729" v="18" actId="47"/>
          <pc:sldLayoutMkLst>
            <pc:docMk/>
            <pc:sldMasterMk cId="2328126584" sldId="2147483648"/>
            <pc:sldLayoutMk cId="2052545530" sldId="2147483654"/>
          </pc:sldLayoutMkLst>
        </pc:sldLayoutChg>
        <pc:sldLayoutChg chg="del">
          <pc:chgData name="Joseph, Tyler" userId="d95ade4d-0576-43d0-bb19-3f7a19f59750" providerId="ADAL" clId="{754C1B76-3236-4A62-9BE9-DF4E7CEDA46E}" dt="2025-03-27T15:14:33.729" v="18" actId="47"/>
          <pc:sldLayoutMkLst>
            <pc:docMk/>
            <pc:sldMasterMk cId="2328126584" sldId="2147483648"/>
            <pc:sldLayoutMk cId="1430350736" sldId="2147483655"/>
          </pc:sldLayoutMkLst>
        </pc:sldLayoutChg>
        <pc:sldLayoutChg chg="del">
          <pc:chgData name="Joseph, Tyler" userId="d95ade4d-0576-43d0-bb19-3f7a19f59750" providerId="ADAL" clId="{754C1B76-3236-4A62-9BE9-DF4E7CEDA46E}" dt="2025-03-27T15:14:33.729" v="18" actId="47"/>
          <pc:sldLayoutMkLst>
            <pc:docMk/>
            <pc:sldMasterMk cId="2328126584" sldId="2147483648"/>
            <pc:sldLayoutMk cId="4165984961" sldId="2147483656"/>
          </pc:sldLayoutMkLst>
        </pc:sldLayoutChg>
        <pc:sldLayoutChg chg="del">
          <pc:chgData name="Joseph, Tyler" userId="d95ade4d-0576-43d0-bb19-3f7a19f59750" providerId="ADAL" clId="{754C1B76-3236-4A62-9BE9-DF4E7CEDA46E}" dt="2025-03-27T15:14:33.729" v="18" actId="47"/>
          <pc:sldLayoutMkLst>
            <pc:docMk/>
            <pc:sldMasterMk cId="2328126584" sldId="2147483648"/>
            <pc:sldLayoutMk cId="2973427359" sldId="2147483657"/>
          </pc:sldLayoutMkLst>
        </pc:sldLayoutChg>
        <pc:sldLayoutChg chg="del">
          <pc:chgData name="Joseph, Tyler" userId="d95ade4d-0576-43d0-bb19-3f7a19f59750" providerId="ADAL" clId="{754C1B76-3236-4A62-9BE9-DF4E7CEDA46E}" dt="2025-03-27T15:14:33.729" v="18" actId="47"/>
          <pc:sldLayoutMkLst>
            <pc:docMk/>
            <pc:sldMasterMk cId="2328126584" sldId="2147483648"/>
            <pc:sldLayoutMk cId="3389587739" sldId="2147483658"/>
          </pc:sldLayoutMkLst>
        </pc:sldLayoutChg>
        <pc:sldLayoutChg chg="del">
          <pc:chgData name="Joseph, Tyler" userId="d95ade4d-0576-43d0-bb19-3f7a19f59750" providerId="ADAL" clId="{754C1B76-3236-4A62-9BE9-DF4E7CEDA46E}" dt="2025-03-27T15:14:33.729" v="18" actId="47"/>
          <pc:sldLayoutMkLst>
            <pc:docMk/>
            <pc:sldMasterMk cId="2328126584" sldId="2147483648"/>
            <pc:sldLayoutMk cId="438874446" sldId="2147483659"/>
          </pc:sldLayoutMkLst>
        </pc:sldLayoutChg>
        <pc:sldLayoutChg chg="del">
          <pc:chgData name="Joseph, Tyler" userId="d95ade4d-0576-43d0-bb19-3f7a19f59750" providerId="ADAL" clId="{754C1B76-3236-4A62-9BE9-DF4E7CEDA46E}" dt="2025-03-27T15:14:33.729" v="18" actId="47"/>
          <pc:sldLayoutMkLst>
            <pc:docMk/>
            <pc:sldMasterMk cId="2328126584" sldId="2147483648"/>
            <pc:sldLayoutMk cId="116246205" sldId="2147483660"/>
          </pc:sldLayoutMkLst>
        </pc:sldLayoutChg>
        <pc:sldLayoutChg chg="del">
          <pc:chgData name="Joseph, Tyler" userId="d95ade4d-0576-43d0-bb19-3f7a19f59750" providerId="ADAL" clId="{754C1B76-3236-4A62-9BE9-DF4E7CEDA46E}" dt="2025-03-27T15:14:33.729" v="18" actId="47"/>
          <pc:sldLayoutMkLst>
            <pc:docMk/>
            <pc:sldMasterMk cId="2328126584" sldId="2147483648"/>
            <pc:sldLayoutMk cId="371489988" sldId="2147483662"/>
          </pc:sldLayoutMkLst>
        </pc:sldLayoutChg>
      </pc:sldMasterChg>
      <pc:sldMasterChg chg="del delSldLayout">
        <pc:chgData name="Joseph, Tyler" userId="d95ade4d-0576-43d0-bb19-3f7a19f59750" providerId="ADAL" clId="{754C1B76-3236-4A62-9BE9-DF4E7CEDA46E}" dt="2025-03-27T16:28:58.623" v="2887" actId="47"/>
        <pc:sldMasterMkLst>
          <pc:docMk/>
          <pc:sldMasterMk cId="3854861992" sldId="2147483731"/>
        </pc:sldMasterMkLst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4173487492" sldId="2147483732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3659543607" sldId="2147483733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1110222745" sldId="2147483734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732793091" sldId="2147483735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1160942753" sldId="2147483736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2439794833" sldId="2147483737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3379648072" sldId="2147483738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3943828279" sldId="2147483739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1269493281" sldId="2147483740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3269164010" sldId="2147483741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4287993200" sldId="2147483742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2338653374" sldId="2147483743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525600002" sldId="2147483744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830862763" sldId="2147483745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128583848" sldId="2147483746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1907032690" sldId="2147483747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2630669410" sldId="2147483748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3159708498" sldId="2147483749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138857318" sldId="2147483750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1010265420" sldId="2147483751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2504950888" sldId="2147483752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2587432569" sldId="2147483753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2969460981" sldId="2147483754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3635730045" sldId="2147483755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3671993981" sldId="2147483756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2761515998" sldId="2147483757"/>
          </pc:sldLayoutMkLst>
        </pc:sldLayoutChg>
        <pc:sldLayoutChg chg="del">
          <pc:chgData name="Joseph, Tyler" userId="d95ade4d-0576-43d0-bb19-3f7a19f59750" providerId="ADAL" clId="{754C1B76-3236-4A62-9BE9-DF4E7CEDA46E}" dt="2025-03-27T16:28:58.623" v="2887" actId="47"/>
          <pc:sldLayoutMkLst>
            <pc:docMk/>
            <pc:sldMasterMk cId="3854861992" sldId="2147483731"/>
            <pc:sldLayoutMk cId="3266198659" sldId="2147483758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14DACE-D3DC-4E01-B9B2-92E25A61C02E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06E8C0-649C-4D38-90F5-9EBED4F694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332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20204" pitchFamily="34" charset="0"/>
              </a:rPr>
              <a:pPr/>
              <a:t>1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9594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06E8C0-649C-4D38-90F5-9EBED4F6946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2159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95669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50807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1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1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6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hemeOverride" Target="../theme/themeOverride2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6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4" Type="http://schemas.openxmlformats.org/officeDocument/2006/relationships/image" Target="../media/image6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hemeOverride" Target="../theme/themeOverride2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6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6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6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7767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B84FA7B-BB3A-4400-8381-223973273583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36181" y="5570643"/>
            <a:ext cx="1528693" cy="8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48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ACDA7A5-734A-4440-865C-448E07B4B3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098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CDA7A5-734A-4440-865C-448E07B4B3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41141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358EC2D-857F-4211-8D7D-41AD1B9B84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7048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8EC2D-857F-4211-8D7D-41AD1B9B84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1252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78BA5F8-B7D0-42DA-A36E-E71424DED0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00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8BA5F8-B7D0-42DA-A36E-E71424DED0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89501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FBA628A-55F1-429E-8ED9-3B7392AA4A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400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BA628A-55F1-429E-8ED9-3B7392AA4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96361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187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36575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2CD81A-F4A8-41C3-A748-46E26F397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5830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2CD81A-F4A8-41C3-A748-46E26F397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48597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E0F0817-3C69-441A-AC5E-EFB3B53A75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1026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0F0817-3C69-441A-AC5E-EFB3B53A75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45058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80D785F-4DFA-47EB-8CA6-4B6FDB9057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882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D785F-4DFA-47EB-8CA6-4B6FDB905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18610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96B768F-1B9D-4E7F-AB5B-6D7F4C4ED6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8658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6B768F-1B9D-4E7F-AB5B-6D7F4C4ED6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71803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754A443-EC10-4175-895D-C34ABC927E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64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54A443-EC10-4175-895D-C34ABC927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1A5BA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23747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3D1F182-580F-4E5A-909A-F301DEF6C6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8369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D1F182-580F-4E5A-909A-F301DEF6C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8664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2910130-5364-4AA3-953F-13C86918F5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748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910130-5364-4AA3-953F-13C86918F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8847967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09DC58-AD39-47B0-AB3A-D769CAC326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97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09DC58-AD39-47B0-AB3A-D769CAC32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1A5B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1A5BA7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059430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D2E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520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9400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8064C93-0A6F-40CA-9574-9E4003178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3126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064C93-0A6F-40CA-9574-9E4003178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05058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53AACBD-5029-4945-A144-9F0E86D55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9898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3AACBD-5029-4945-A144-9F0E86D55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063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6AA18A0-1F45-4E0E-9BA0-98F2950BD7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6780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AA18A0-1F45-4E0E-9BA0-98F2950BD7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097875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67DD0B-23EE-4E57-81D2-CF60130294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66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67DD0B-23EE-4E57-81D2-CF6013029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80A72C-E960-47BC-AF0F-3925417CF1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45624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5431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CD4ED79-BA57-4033-89B7-80C384FDCAF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78924" y="2362985"/>
            <a:ext cx="3634154" cy="213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044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5264DAB-C821-4819-900D-BEB623B959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4365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264DAB-C821-4819-900D-BEB623B95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31688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1911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773ED30-80C5-469D-A022-E5823542CF9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36181" y="5570643"/>
            <a:ext cx="1528693" cy="8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337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317CD1E-9836-4DC3-A2D6-76D6130A20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2154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17CD1E-9836-4DC3-A2D6-76D6130A20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 vert="horz"/>
          <a:lstStyle>
            <a:lvl1pPr>
              <a:defRPr sz="3400">
                <a:solidFill>
                  <a:srgbClr val="1A5BA7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2081212"/>
            <a:ext cx="10934700" cy="40798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2434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8E0D74F-4AD4-4D6B-89F0-588A99442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410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E0D74F-4AD4-4D6B-89F0-588A99442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12994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CD0CC2-801F-4DD2-B2FD-072D742F51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3406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CD0CC2-801F-4DD2-B2FD-072D742F51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1A5BA7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2081212"/>
            <a:ext cx="10934700" cy="40798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0539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C64BCB2-E075-4877-A5A1-5C69582C8B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2025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64BCB2-E075-4877-A5A1-5C69582C8B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2010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92400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11282E4-C304-4F65-8964-B88953219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034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1282E4-C304-4F65-8964-B88953219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1A5BA7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701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7EEDCD-1BA1-4A95-A4B8-DBA4379A8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990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7EEDCD-1BA1-4A95-A4B8-DBA4379A8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1A5BA7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8922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7082E18-7BF0-4427-8A62-B93B98AB56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294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082E18-7BF0-4427-8A62-B93B98AB5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2361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E23520A-6BE4-438C-9093-419D575DD6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205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23520A-6BE4-438C-9093-419D575DD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444205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0809427-03CB-4ECA-8C54-F4A2919AB5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0788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809427-03CB-4ECA-8C54-F4A2919AB5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5684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3B1E7F-5A58-4867-AC64-EAC294514F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0530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3B1E7F-5A58-4867-AC64-EAC294514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3111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93E522-D196-48C7-848D-C07840BB3B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94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93E522-D196-48C7-848D-C07840BB3B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45282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177BE46-38FE-4634-84BE-DA6B5C082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89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77BE46-38FE-4634-84BE-DA6B5C0822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1A5BA7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71446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013BA7-1671-4489-BF20-6DF71E6A1B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963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013BA7-1671-4489-BF20-6DF71E6A1B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651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8409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5929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A481284-5BDC-458E-8CA0-4FC0716BF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66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481284-5BDC-458E-8CA0-4FC0716BF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08356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FD7CFA-77A6-45DF-9CFF-73709C42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300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FD7CFA-77A6-45DF-9CFF-73709C42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1424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50A355E-39BE-4268-B8D3-B3630E8A94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382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0A355E-39BE-4268-B8D3-B3630E8A9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02083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B82202B-6C40-444B-99F7-8C195574F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240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82202B-6C40-444B-99F7-8C195574F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58131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57E206-B6E1-4D22-9BF8-4FAC24A0A1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90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57E206-B6E1-4D22-9BF8-4FAC24A0A1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76560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F6BAF1-6D8D-4604-9D3A-F7259DE3F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164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F6BAF1-6D8D-4604-9D3A-F7259DE3F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1534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4038837-BD26-4E1F-9348-503D6CE197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599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038837-BD26-4E1F-9348-503D6CE197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1A5BA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3347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0B7405F-A5CC-4C5A-88C5-44E4443552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709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B7405F-A5CC-4C5A-88C5-44E4443552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402024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E667EF-7E6B-4EEF-8700-1CBA83788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4166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7EF-7E6B-4EEF-8700-1CBA837881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3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896E83A-2433-4E68-9C43-00A3D3DAB5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383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96E83A-2433-4E68-9C43-00A3D3DAB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1A5B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1A5BA7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18894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D2E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1357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3129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2BB318E-EEEF-421B-B4B6-431A2B5BF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9838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B318E-EEEF-421B-B4B6-431A2B5BF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3254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DC3EAE9-D72D-4DBE-861A-EA1BA8EA6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1684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C3EAE9-D72D-4DBE-861A-EA1BA8EA6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48118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1A5BA7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52342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8D9C0E4-294D-4483-9FFB-27D58A4894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3059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D9C0E4-294D-4483-9FFB-27D58A4894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6185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8E8FB14-A2EC-46B4-9540-921A65E2F8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95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E8FB14-A2EC-46B4-9540-921A65E2F8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3916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4CCBA48-CB2E-406F-900E-28CA930D57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8349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CCBA48-CB2E-406F-900E-28CA930D57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9B611CD-2C50-42B9-BAED-13E0027D59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5CC28EA9-0211-480F-8A0C-F7FF15710B14}"/>
              </a:ext>
            </a:extLst>
          </p:cNvPr>
          <p:cNvSpPr txBox="1">
            <a:spLocks/>
          </p:cNvSpPr>
          <p:nvPr userDrawn="1"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5FFB64-2090-40B3-A1D8-916569694D2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432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6622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3CE1EC0-8B8D-49B8-9569-8189D9E921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78924" y="2362985"/>
            <a:ext cx="3634154" cy="213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55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823D3E8-DE9C-4133-B3C4-3BF4467A1D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443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23D3E8-DE9C-4133-B3C4-3BF4467A1D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9607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55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374217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CF0CDD1-AA43-4B95-96AE-157AEDF56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852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F0CDD1-AA43-4B95-96AE-157AEDF56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0289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435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998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123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3522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0800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327904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1734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1A5BA7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rgbClr val="1A5BA7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1A5BA7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2117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1492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04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736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1A5BA7"/>
                </a:solidFill>
                <a:latin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1A5BA7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5305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4621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844835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0282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035571D-5A9E-4EC5-9451-2934D26C337F}"/>
              </a:ext>
            </a:extLst>
          </p:cNvPr>
          <p:cNvSpPr txBox="1"/>
          <p:nvPr userDrawn="1"/>
        </p:nvSpPr>
        <p:spPr>
          <a:xfrm>
            <a:off x="630000" y="2548118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1A5BA7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11112929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EF85E5-E4AB-42D5-9819-CCF0CD433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525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EF85E5-E4AB-42D5-9819-CCF0CD433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91391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0A7AEB6-FEC2-4F0E-99DE-C878DFED7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9567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A7AEB6-FEC2-4F0E-99DE-C878DFED7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6553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2FDB510-EF43-4247-8261-00FBB5410C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973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FDB510-EF43-4247-8261-00FBB5410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200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2804251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8650" y="2081212"/>
            <a:ext cx="10934700" cy="40798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407832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  <p:sldLayoutId id="2147483693" r:id="rId30"/>
    <p:sldLayoutId id="2147483694" r:id="rId31"/>
    <p:sldLayoutId id="2147483695" r:id="rId32"/>
    <p:sldLayoutId id="2147483696" r:id="rId33"/>
    <p:sldLayoutId id="2147483697" r:id="rId34"/>
    <p:sldLayoutId id="2147483698" r:id="rId35"/>
    <p:sldLayoutId id="2147483699" r:id="rId36"/>
    <p:sldLayoutId id="2147483700" r:id="rId37"/>
    <p:sldLayoutId id="2147483701" r:id="rId38"/>
    <p:sldLayoutId id="2147483702" r:id="rId39"/>
    <p:sldLayoutId id="2147483703" r:id="rId40"/>
    <p:sldLayoutId id="2147483704" r:id="rId41"/>
    <p:sldLayoutId id="2147483705" r:id="rId42"/>
    <p:sldLayoutId id="2147483706" r:id="rId43"/>
    <p:sldLayoutId id="2147483707" r:id="rId44"/>
    <p:sldLayoutId id="2147483708" r:id="rId45"/>
    <p:sldLayoutId id="2147483709" r:id="rId46"/>
    <p:sldLayoutId id="2147483710" r:id="rId47"/>
    <p:sldLayoutId id="2147483711" r:id="rId48"/>
    <p:sldLayoutId id="2147483712" r:id="rId49"/>
    <p:sldLayoutId id="2147483713" r:id="rId50"/>
    <p:sldLayoutId id="2147483714" r:id="rId51"/>
    <p:sldLayoutId id="2147483715" r:id="rId52"/>
    <p:sldLayoutId id="2147483716" r:id="rId53"/>
    <p:sldLayoutId id="2147483717" r:id="rId54"/>
    <p:sldLayoutId id="2147483718" r:id="rId55"/>
    <p:sldLayoutId id="2147483719" r:id="rId56"/>
    <p:sldLayoutId id="2147483720" r:id="rId57"/>
    <p:sldLayoutId id="2147483721" r:id="rId58"/>
    <p:sldLayoutId id="2147483722" r:id="rId59"/>
    <p:sldLayoutId id="2147483723" r:id="rId60"/>
    <p:sldLayoutId id="2147483724" r:id="rId61"/>
    <p:sldLayoutId id="2147483725" r:id="rId62"/>
    <p:sldLayoutId id="2147483726" r:id="rId63"/>
    <p:sldLayoutId id="2147483727" r:id="rId64"/>
    <p:sldLayoutId id="2147483728" r:id="rId65"/>
    <p:sldLayoutId id="2147483729" r:id="rId66"/>
    <p:sldLayoutId id="2147483730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1A5BA7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320040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649224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​"/>
        <a:defRPr lang="en-US" sz="1600" kern="1200">
          <a:solidFill>
            <a:srgbClr val="1A5BA7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320040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1A5BA7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1A5BA7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1A5BA7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1A5BA7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1A5BA7"/>
        </a:buClr>
        <a:buFont typeface="Arial" panose="020B0604020202020204" pitchFamily="34" charset="0"/>
        <a:buChar char="​"/>
        <a:defRPr lang="en-US" sz="2400" kern="1200" baseline="0" dirty="0">
          <a:solidFill>
            <a:srgbClr val="1A5BA7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0.bin"/><Relationship Id="rId3" Type="http://schemas.openxmlformats.org/officeDocument/2006/relationships/tags" Target="../tags/tag78.xml"/><Relationship Id="rId7" Type="http://schemas.openxmlformats.org/officeDocument/2006/relationships/image" Target="../media/image6.emf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6.emf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oleObject" Target="../embeddings/oleObject70.bin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1.xml"/><Relationship Id="rId4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oleObject" Target="../embeddings/oleObject74.bin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12.emf"/><Relationship Id="rId2" Type="http://schemas.openxmlformats.org/officeDocument/2006/relationships/tags" Target="../tags/tag83.xml"/><Relationship Id="rId16" Type="http://schemas.openxmlformats.org/officeDocument/2006/relationships/image" Target="../media/image6.emf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oleObject" Target="../embeddings/oleObject73.bin"/><Relationship Id="rId5" Type="http://schemas.openxmlformats.org/officeDocument/2006/relationships/tags" Target="../tags/tag86.xml"/><Relationship Id="rId15" Type="http://schemas.openxmlformats.org/officeDocument/2006/relationships/oleObject" Target="../embeddings/oleObject70.bin"/><Relationship Id="rId10" Type="http://schemas.openxmlformats.org/officeDocument/2006/relationships/notesSlide" Target="../notesSlides/notesSlide2.xml"/><Relationship Id="rId4" Type="http://schemas.openxmlformats.org/officeDocument/2006/relationships/tags" Target="../tags/tag85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0.bin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3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5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92.xml"/><Relationship Id="rId1" Type="http://schemas.openxmlformats.org/officeDocument/2006/relationships/customXml" Target="../../customXml/item4.x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6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E3673E9-A138-4CD1-AA06-8E5F318A8E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9" imgH="396" progId="TCLayout.ActiveDocument.1">
                  <p:embed/>
                </p:oleObj>
              </mc:Choice>
              <mc:Fallback>
                <p:oleObj name="think-cell Slide" r:id="rId6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3673E9-A138-4CD1-AA06-8E5F318A8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720A33-A5FA-4CAB-BD6E-99A125F866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rch 28, 2025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C1DC923-2309-431F-B6F5-213D3AC361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Infrastructure Roundtable - Technical Assistan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755B69-E715-4728-B9D3-C4640AA1A2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415" y="1886242"/>
            <a:ext cx="9366498" cy="3138423"/>
          </a:xfrm>
        </p:spPr>
        <p:txBody>
          <a:bodyPr vert="horz"/>
          <a:lstStyle/>
          <a:p>
            <a:r>
              <a:rPr lang="en-US"/>
              <a:t>The Arkansas </a:t>
            </a:r>
            <a:br>
              <a:rPr lang="en-US"/>
            </a:br>
            <a:r>
              <a:rPr lang="en-US"/>
              <a:t>BEAD Program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5AEBCBC-A0E7-EED4-72C9-875365A74C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9" imgH="396" progId="TCLayout.ActiveDocument.1">
                  <p:embed/>
                </p:oleObj>
              </mc:Choice>
              <mc:Fallback>
                <p:oleObj name="think-cell Slide" r:id="rId8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AEBCBC-A0E7-EED4-72C9-875365A74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AFCA18E-1FB6-C404-9818-CD8ACEBD81D0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15427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9" imgH="396" progId="TCLayout.ActiveDocument.1">
                  <p:embed/>
                </p:oleObj>
              </mc:Choice>
              <mc:Fallback>
                <p:oleObj name="think-cell Slide" r:id="rId8" imgW="389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FCA18E-1FB6-C404-9818-CD8ACEBD81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3161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think-cell data - do not delete" hidden="1">
            <a:extLst>
              <a:ext uri="{FF2B5EF4-FFF2-40B4-BE49-F238E27FC236}">
                <a16:creationId xmlns:a16="http://schemas.microsoft.com/office/drawing/2014/main" id="{B050BE20-C946-60B0-F3C8-34BF7169C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7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50BE20-C946-60B0-F3C8-34BF7169C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F6951E0-7061-88A9-CB09-5AC37551FFDF}"/>
              </a:ext>
            </a:extLst>
          </p:cNvPr>
          <p:cNvCxnSpPr>
            <a:cxnSpLocks/>
          </p:cNvCxnSpPr>
          <p:nvPr/>
        </p:nvCxnSpPr>
        <p:spPr>
          <a:xfrm flipV="1">
            <a:off x="10991695" y="3775579"/>
            <a:ext cx="0" cy="509436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753192D-12C7-BE8B-B04E-7314B8C7C8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</a:rPr>
              <a:t>Recall | </a:t>
            </a:r>
            <a:r>
              <a:rPr lang="en-US" dirty="0">
                <a:solidFill>
                  <a:schemeClr val="tx2"/>
                </a:solidFill>
              </a:rPr>
              <a:t>Overview of </a:t>
            </a:r>
            <a:r>
              <a:rPr lang="en-US" dirty="0" err="1">
                <a:solidFill>
                  <a:schemeClr val="tx2"/>
                </a:solidFill>
              </a:rPr>
              <a:t>ARConnect's</a:t>
            </a:r>
            <a:r>
              <a:rPr lang="en-US" dirty="0">
                <a:solidFill>
                  <a:schemeClr val="tx2"/>
                </a:solidFill>
              </a:rPr>
              <a:t> approach to achieving 100% coverag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EBE8EB2-1DED-6BAE-1CE2-F5F2BFD6A99E}"/>
              </a:ext>
            </a:extLst>
          </p:cNvPr>
          <p:cNvSpPr/>
          <p:nvPr/>
        </p:nvSpPr>
        <p:spPr>
          <a:xfrm>
            <a:off x="610400" y="3486378"/>
            <a:ext cx="10952945" cy="42845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5E3CA9DD-5C22-533B-AEBF-95258D7A0971}"/>
              </a:ext>
            </a:extLst>
          </p:cNvPr>
          <p:cNvCxnSpPr>
            <a:cxnSpLocks/>
          </p:cNvCxnSpPr>
          <p:nvPr/>
        </p:nvCxnSpPr>
        <p:spPr>
          <a:xfrm>
            <a:off x="5431583" y="3196647"/>
            <a:ext cx="0" cy="430860"/>
          </a:xfrm>
          <a:prstGeom prst="line">
            <a:avLst/>
          </a:prstGeom>
          <a:ln w="9525" cap="rnd">
            <a:solidFill>
              <a:srgbClr val="1A5BA7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9F21F19-1E67-3911-782F-70482EFAFE40}"/>
              </a:ext>
            </a:extLst>
          </p:cNvPr>
          <p:cNvCxnSpPr>
            <a:cxnSpLocks/>
          </p:cNvCxnSpPr>
          <p:nvPr/>
        </p:nvCxnSpPr>
        <p:spPr>
          <a:xfrm flipV="1">
            <a:off x="7284953" y="3775579"/>
            <a:ext cx="0" cy="509436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:a16="http://schemas.microsoft.com/office/drawing/2014/main" id="{BAFEB66B-B506-DDEB-BE29-DABDF58F36AF}"/>
              </a:ext>
            </a:extLst>
          </p:cNvPr>
          <p:cNvSpPr/>
          <p:nvPr/>
        </p:nvSpPr>
        <p:spPr>
          <a:xfrm>
            <a:off x="4298970" y="1613197"/>
            <a:ext cx="2846435" cy="1571801"/>
          </a:xfrm>
          <a:prstGeom prst="rect">
            <a:avLst/>
          </a:prstGeom>
          <a:noFill/>
          <a:ln w="12700" cap="rnd" cmpd="sng" algn="ctr">
            <a:solidFill>
              <a:srgbClr val="1A5BA7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1A5BA7"/>
                </a:solidFill>
              </a:rPr>
              <a:t>Partial Award Eligible Outreach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ontact sole bidders on partial award eligible </a:t>
            </a:r>
            <a:r>
              <a:rPr lang="en-US" sz="1400" dirty="0" err="1">
                <a:solidFill>
                  <a:schemeClr val="tx1"/>
                </a:solidFill>
              </a:rPr>
              <a:t>CBGs</a:t>
            </a:r>
            <a:endParaRPr lang="en-US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Offer prorated subsidies 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28089C9D-9E37-2E2E-5650-78A51601180B}"/>
              </a:ext>
            </a:extLst>
          </p:cNvPr>
          <p:cNvSpPr/>
          <p:nvPr/>
        </p:nvSpPr>
        <p:spPr>
          <a:xfrm>
            <a:off x="7244264" y="1613197"/>
            <a:ext cx="2846435" cy="1571801"/>
          </a:xfrm>
          <a:prstGeom prst="rect">
            <a:avLst/>
          </a:prstGeom>
          <a:noFill/>
          <a:ln w="12700" cap="rnd" cmpd="sng" algn="ctr">
            <a:solidFill>
              <a:srgbClr val="00B05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00B050"/>
                </a:solidFill>
              </a:rPr>
              <a:t>Tranche-3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Final Tranche of bidding for all remaining </a:t>
            </a:r>
            <a:r>
              <a:rPr lang="en-US" sz="1400" dirty="0" err="1">
                <a:solidFill>
                  <a:schemeClr val="tx1"/>
                </a:solidFill>
              </a:rPr>
              <a:t>CBGs</a:t>
            </a:r>
            <a:endParaRPr lang="en-US" sz="14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Open to all pre-registra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Alternative technology eligible for selection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FC213C8-75CA-B702-1737-7D8997087C28}"/>
              </a:ext>
            </a:extLst>
          </p:cNvPr>
          <p:cNvSpPr/>
          <p:nvPr/>
        </p:nvSpPr>
        <p:spPr>
          <a:xfrm>
            <a:off x="1353676" y="1613197"/>
            <a:ext cx="2846435" cy="1571801"/>
          </a:xfrm>
          <a:prstGeom prst="rect">
            <a:avLst/>
          </a:prstGeom>
          <a:noFill/>
          <a:ln w="12700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rgbClr val="1A5BA7"/>
                </a:solidFill>
              </a:rPr>
              <a:t>Close Tranche-2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Score and adjudicat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Announce and communicate preliminary result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01679186-3B51-F22A-A770-CFFE2D632F37}"/>
              </a:ext>
            </a:extLst>
          </p:cNvPr>
          <p:cNvSpPr/>
          <p:nvPr/>
        </p:nvSpPr>
        <p:spPr>
          <a:xfrm>
            <a:off x="2826323" y="4285014"/>
            <a:ext cx="2846435" cy="1571801"/>
          </a:xfrm>
          <a:prstGeom prst="rect">
            <a:avLst/>
          </a:prstGeom>
          <a:noFill/>
          <a:ln w="12700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rgbClr val="575757"/>
                </a:solidFill>
              </a:rPr>
              <a:t>ULFW Claims Window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Contact ULFW providers that have capacity to deliver service meeting the BEAD Program's technical requirements</a:t>
            </a:r>
            <a:endParaRPr lang="en-US" sz="14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cs typeface="Arial"/>
              </a:rPr>
              <a:t>7-day window</a:t>
            </a:r>
            <a:endParaRPr lang="en-US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D376F9DC-7C95-62A3-EB08-3FAC0837C36D}"/>
              </a:ext>
            </a:extLst>
          </p:cNvPr>
          <p:cNvSpPr/>
          <p:nvPr/>
        </p:nvSpPr>
        <p:spPr>
          <a:xfrm>
            <a:off x="5771617" y="4285014"/>
            <a:ext cx="2846435" cy="1571801"/>
          </a:xfrm>
          <a:prstGeom prst="rect">
            <a:avLst/>
          </a:prstGeom>
          <a:noFill/>
          <a:ln w="12700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err="1">
                <a:solidFill>
                  <a:srgbClr val="575757"/>
                </a:solidFill>
              </a:rPr>
              <a:t>ULFW</a:t>
            </a:r>
            <a:r>
              <a:rPr lang="en-US" sz="1400" b="1">
                <a:solidFill>
                  <a:srgbClr val="575757"/>
                </a:solidFill>
              </a:rPr>
              <a:t> Evidence Windo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Request evidence for claimed </a:t>
            </a:r>
            <a:r>
              <a:rPr lang="en-US" sz="1400" err="1">
                <a:solidFill>
                  <a:schemeClr val="tx1"/>
                </a:solidFill>
              </a:rPr>
              <a:t>ULFW</a:t>
            </a:r>
            <a:r>
              <a:rPr lang="en-US" sz="1400">
                <a:solidFill>
                  <a:schemeClr val="tx1"/>
                </a:solidFill>
              </a:rPr>
              <a:t> loc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30-day window 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85FFB4A7-BAD5-F9AB-D9C1-139780F658F0}"/>
              </a:ext>
            </a:extLst>
          </p:cNvPr>
          <p:cNvCxnSpPr>
            <a:cxnSpLocks/>
          </p:cNvCxnSpPr>
          <p:nvPr/>
        </p:nvCxnSpPr>
        <p:spPr>
          <a:xfrm>
            <a:off x="1734675" y="3196647"/>
            <a:ext cx="0" cy="430860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3EA6DADC-C282-9243-9AE5-E8B6668C82DC}"/>
              </a:ext>
            </a:extLst>
          </p:cNvPr>
          <p:cNvCxnSpPr>
            <a:cxnSpLocks/>
          </p:cNvCxnSpPr>
          <p:nvPr/>
        </p:nvCxnSpPr>
        <p:spPr>
          <a:xfrm>
            <a:off x="9138322" y="3196647"/>
            <a:ext cx="0" cy="430860"/>
          </a:xfrm>
          <a:prstGeom prst="line">
            <a:avLst/>
          </a:prstGeom>
          <a:ln w="9525" cap="rnd">
            <a:solidFill>
              <a:srgbClr val="00B050"/>
            </a:solidFill>
            <a:prstDash val="solid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08C3AB23-3499-EE5F-43C5-EF49441BF74D}"/>
              </a:ext>
            </a:extLst>
          </p:cNvPr>
          <p:cNvCxnSpPr>
            <a:cxnSpLocks/>
          </p:cNvCxnSpPr>
          <p:nvPr/>
        </p:nvCxnSpPr>
        <p:spPr>
          <a:xfrm flipV="1">
            <a:off x="3578213" y="3775787"/>
            <a:ext cx="0" cy="509436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78E107B-4047-0B04-4BE0-5868A862D12D}"/>
              </a:ext>
            </a:extLst>
          </p:cNvPr>
          <p:cNvGrpSpPr/>
          <p:nvPr/>
        </p:nvGrpSpPr>
        <p:grpSpPr>
          <a:xfrm>
            <a:off x="1724843" y="3440040"/>
            <a:ext cx="0" cy="521126"/>
            <a:chOff x="10224431" y="4471834"/>
            <a:chExt cx="0" cy="521126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8E64581-788F-349F-BDE1-2034925573B1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A57AA8CB-8D82-442E-355C-807F2A50B83F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5ABB41B-5CC6-8EAD-94CD-F57C7E42C4C6}"/>
              </a:ext>
            </a:extLst>
          </p:cNvPr>
          <p:cNvGrpSpPr/>
          <p:nvPr/>
        </p:nvGrpSpPr>
        <p:grpSpPr>
          <a:xfrm>
            <a:off x="10991694" y="3440040"/>
            <a:ext cx="0" cy="521126"/>
            <a:chOff x="10224431" y="4471834"/>
            <a:chExt cx="0" cy="521126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57F18A06-865B-70CB-F870-390D7DB545EF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083C80B-2860-D33D-B2FA-4153288144D6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9956FEA-FCBD-9500-0397-15081D78D7BE}"/>
              </a:ext>
            </a:extLst>
          </p:cNvPr>
          <p:cNvGrpSpPr/>
          <p:nvPr/>
        </p:nvGrpSpPr>
        <p:grpSpPr>
          <a:xfrm>
            <a:off x="3578213" y="3440040"/>
            <a:ext cx="0" cy="521126"/>
            <a:chOff x="10224431" y="4471834"/>
            <a:chExt cx="0" cy="521126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3823CF28-F143-F5DF-0900-9AC7009BE137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2B1C54F6-BA73-0EE7-6279-36BA1D7D30C2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626E63C-C321-5D4E-9790-A1D428E86AE3}"/>
              </a:ext>
            </a:extLst>
          </p:cNvPr>
          <p:cNvGrpSpPr/>
          <p:nvPr/>
        </p:nvGrpSpPr>
        <p:grpSpPr>
          <a:xfrm>
            <a:off x="5431583" y="3440040"/>
            <a:ext cx="0" cy="521126"/>
            <a:chOff x="10224431" y="4471834"/>
            <a:chExt cx="0" cy="521126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8308B50C-5C2B-6F42-98CA-894B681DE642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9D084372-0D6C-D9F5-84D3-A602C18C0CD3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>
              <a:solidFill>
                <a:srgbClr val="1A5BA7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052A568-F4F3-40E3-CC76-482F0A20D859}"/>
              </a:ext>
            </a:extLst>
          </p:cNvPr>
          <p:cNvGrpSpPr/>
          <p:nvPr/>
        </p:nvGrpSpPr>
        <p:grpSpPr>
          <a:xfrm>
            <a:off x="7284953" y="3440040"/>
            <a:ext cx="0" cy="521126"/>
            <a:chOff x="10224431" y="4471834"/>
            <a:chExt cx="0" cy="521126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4788F07-664E-0B98-3826-F93D0CD098BE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3A08C454-169B-2D1E-14A3-8DA7D246CB34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8E8344D-B2F5-73A9-9420-B19C0A9E4B42}"/>
              </a:ext>
            </a:extLst>
          </p:cNvPr>
          <p:cNvGrpSpPr/>
          <p:nvPr/>
        </p:nvGrpSpPr>
        <p:grpSpPr>
          <a:xfrm>
            <a:off x="9138323" y="3440040"/>
            <a:ext cx="0" cy="521126"/>
            <a:chOff x="10224431" y="4471834"/>
            <a:chExt cx="0" cy="521126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964FA92-F015-E9AD-FFE6-994ED765CB1F}"/>
                </a:ext>
              </a:extLst>
            </p:cNvPr>
            <p:cNvCxnSpPr/>
            <p:nvPr/>
          </p:nvCxnSpPr>
          <p:spPr>
            <a:xfrm flipV="1">
              <a:off x="10224431" y="4471834"/>
              <a:ext cx="0" cy="521126"/>
            </a:xfrm>
            <a:prstGeom prst="line">
              <a:avLst/>
            </a:prstGeom>
            <a:ln w="254000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685C227B-567B-DF8B-DD34-4589046963D2}"/>
                </a:ext>
              </a:extLst>
            </p:cNvPr>
            <p:cNvCxnSpPr/>
            <p:nvPr/>
          </p:nvCxnSpPr>
          <p:spPr>
            <a:xfrm flipV="1">
              <a:off x="10224431" y="4495521"/>
              <a:ext cx="0" cy="473751"/>
            </a:xfrm>
            <a:prstGeom prst="line">
              <a:avLst/>
            </a:prstGeom>
            <a:ln w="123825" cap="rnd">
              <a:solidFill>
                <a:srgbClr val="00B050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2131FAF8-169E-CAEA-B696-54DBFFF9CF27}"/>
              </a:ext>
            </a:extLst>
          </p:cNvPr>
          <p:cNvSpPr/>
          <p:nvPr/>
        </p:nvSpPr>
        <p:spPr>
          <a:xfrm>
            <a:off x="8716911" y="4285014"/>
            <a:ext cx="2846435" cy="1571801"/>
          </a:xfrm>
          <a:prstGeom prst="rect">
            <a:avLst/>
          </a:prstGeom>
          <a:noFill/>
          <a:ln w="12700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rgbClr val="575757"/>
                </a:solidFill>
              </a:rPr>
              <a:t>ULFW Determination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Evaluate ULFW evidence </a:t>
            </a:r>
            <a:endParaRPr lang="en-US" sz="1400">
              <a:solidFill>
                <a:schemeClr val="tx1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Remove from alt-tech projects any locations sufficiently claimed by ULFW</a:t>
            </a:r>
          </a:p>
          <a:p>
            <a:endParaRPr lang="en-US" sz="1400">
              <a:solidFill>
                <a:schemeClr val="tx1"/>
              </a:solidFill>
              <a:cs typeface="Arial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B282055-03EB-87AE-4FF7-A53A83A46265}"/>
              </a:ext>
            </a:extLst>
          </p:cNvPr>
          <p:cNvSpPr/>
          <p:nvPr/>
        </p:nvSpPr>
        <p:spPr>
          <a:xfrm>
            <a:off x="2826323" y="5947117"/>
            <a:ext cx="8737022" cy="364540"/>
          </a:xfrm>
          <a:prstGeom prst="roundRect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>
                <a:solidFill>
                  <a:srgbClr val="575757"/>
                </a:solidFill>
              </a:rPr>
              <a:t>Per NTIA guidance, before selecting alternative technology subgrantees, eligible entities must identify any </a:t>
            </a:r>
            <a:r>
              <a:rPr lang="en-US" sz="1100" err="1">
                <a:solidFill>
                  <a:srgbClr val="575757"/>
                </a:solidFill>
              </a:rPr>
              <a:t>BSLs</a:t>
            </a:r>
            <a:r>
              <a:rPr lang="en-US" sz="1100">
                <a:solidFill>
                  <a:srgbClr val="575757"/>
                </a:solidFill>
              </a:rPr>
              <a:t> in the project area already served by an </a:t>
            </a:r>
            <a:r>
              <a:rPr lang="en-US" sz="1100" err="1">
                <a:solidFill>
                  <a:srgbClr val="575757"/>
                </a:solidFill>
              </a:rPr>
              <a:t>ULFW</a:t>
            </a:r>
            <a:r>
              <a:rPr lang="en-US" sz="1100">
                <a:solidFill>
                  <a:srgbClr val="575757"/>
                </a:solidFill>
              </a:rPr>
              <a:t> provider that has the capacity to deliver service meeting the BEAD program's technical requirements</a:t>
            </a:r>
            <a:r>
              <a:rPr lang="en-US" sz="1100" baseline="30000">
                <a:solidFill>
                  <a:srgbClr val="575757"/>
                </a:solidFill>
              </a:rPr>
              <a:t>1</a:t>
            </a:r>
          </a:p>
        </p:txBody>
      </p:sp>
      <p:sp>
        <p:nvSpPr>
          <p:cNvPr id="11" name="ee4pFootnotes">
            <a:extLst>
              <a:ext uri="{FF2B5EF4-FFF2-40B4-BE49-F238E27FC236}">
                <a16:creationId xmlns:a16="http://schemas.microsoft.com/office/drawing/2014/main" id="{EC4A535C-CA1A-064A-D076-024F7F484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530203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  <a:latin typeface="+mj-lt"/>
                <a:cs typeface="Arial" pitchFamily="34" charset="0"/>
              </a:rPr>
              <a:t>1. BEAD Program: Alternative Broadband Technology Policy Noti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51B7-DCAC-3A55-A0A3-5B0D83902E67}"/>
              </a:ext>
            </a:extLst>
          </p:cNvPr>
          <p:cNvSpPr/>
          <p:nvPr/>
        </p:nvSpPr>
        <p:spPr>
          <a:xfrm rot="16200000">
            <a:off x="11180" y="2217409"/>
            <a:ext cx="1793340" cy="58491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tx2"/>
                </a:solidFill>
              </a:rPr>
              <a:t>Negotiation milestones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4573551-EBC3-8E64-7158-CFF70B0947FE}"/>
              </a:ext>
            </a:extLst>
          </p:cNvPr>
          <p:cNvSpPr/>
          <p:nvPr/>
        </p:nvSpPr>
        <p:spPr>
          <a:xfrm rot="16200000">
            <a:off x="-23223" y="4633285"/>
            <a:ext cx="1862144" cy="584916"/>
          </a:xfrm>
          <a:prstGeom prst="rect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err="1">
                <a:solidFill>
                  <a:srgbClr val="575757"/>
                </a:solidFill>
              </a:rPr>
              <a:t>ULFW</a:t>
            </a:r>
            <a:r>
              <a:rPr lang="en-US" sz="1600" b="1">
                <a:solidFill>
                  <a:srgbClr val="575757"/>
                </a:solidFill>
              </a:rPr>
              <a:t> Claims Process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743C85D-1CBE-949B-1018-74E14AD3C4F3}"/>
              </a:ext>
            </a:extLst>
          </p:cNvPr>
          <p:cNvGrpSpPr>
            <a:grpSpLocks noChangeAspect="1"/>
          </p:cNvGrpSpPr>
          <p:nvPr/>
        </p:nvGrpSpPr>
        <p:grpSpPr>
          <a:xfrm>
            <a:off x="1353676" y="1243012"/>
            <a:ext cx="260912" cy="260912"/>
            <a:chOff x="982662" y="3463925"/>
            <a:chExt cx="269875" cy="269875"/>
          </a:xfrm>
        </p:grpSpPr>
        <p:sp>
          <p:nvSpPr>
            <p:cNvPr id="62" name="Oval 14">
              <a:extLst>
                <a:ext uri="{FF2B5EF4-FFF2-40B4-BE49-F238E27FC236}">
                  <a16:creationId xmlns:a16="http://schemas.microsoft.com/office/drawing/2014/main" id="{E49AA0DE-F600-BC06-4687-A7B8CD86E3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463925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AB771563-6AD2-429B-0A6B-C6ECFCF057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9812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C6382A49-C8FA-1CFD-E8DE-0094969C3FA8}"/>
              </a:ext>
            </a:extLst>
          </p:cNvPr>
          <p:cNvSpPr/>
          <p:nvPr/>
        </p:nvSpPr>
        <p:spPr>
          <a:xfrm>
            <a:off x="1564480" y="1272173"/>
            <a:ext cx="1046179" cy="2025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i="1" dirty="0">
                <a:solidFill>
                  <a:schemeClr val="tx2"/>
                </a:solidFill>
              </a:rPr>
              <a:t>We are her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C2429C3-ABBD-1946-DE8B-7F4818D8B3CD}"/>
              </a:ext>
            </a:extLst>
          </p:cNvPr>
          <p:cNvGrpSpPr>
            <a:grpSpLocks noChangeAspect="1"/>
          </p:cNvGrpSpPr>
          <p:nvPr/>
        </p:nvGrpSpPr>
        <p:grpSpPr>
          <a:xfrm>
            <a:off x="7244264" y="1243012"/>
            <a:ext cx="260912" cy="260912"/>
            <a:chOff x="982662" y="3463925"/>
            <a:chExt cx="269875" cy="269875"/>
          </a:xfrm>
        </p:grpSpPr>
        <p:sp>
          <p:nvSpPr>
            <p:cNvPr id="18" name="Oval 14">
              <a:extLst>
                <a:ext uri="{FF2B5EF4-FFF2-40B4-BE49-F238E27FC236}">
                  <a16:creationId xmlns:a16="http://schemas.microsoft.com/office/drawing/2014/main" id="{87CA717F-FEE4-F04F-6BD9-1A9001612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463925"/>
              <a:ext cx="269875" cy="269875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C1DA6CF5-B215-9F87-80E0-62F200AE51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9812" y="3522663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3A18A465-BF89-DD67-A230-3C9AE423EBB6}"/>
              </a:ext>
            </a:extLst>
          </p:cNvPr>
          <p:cNvSpPr/>
          <p:nvPr/>
        </p:nvSpPr>
        <p:spPr>
          <a:xfrm>
            <a:off x="7455068" y="1272173"/>
            <a:ext cx="1935476" cy="2025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i="1" dirty="0">
                <a:solidFill>
                  <a:srgbClr val="00B050"/>
                </a:solidFill>
              </a:rPr>
              <a:t>Focus of today's session</a:t>
            </a: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2C6E5F-9406-3085-2036-306390375A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3880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9" imgH="396" progId="TCLayout.ActiveDocument.1">
                  <p:embed/>
                </p:oleObj>
              </mc:Choice>
              <mc:Fallback>
                <p:oleObj name="think-cell Slide" r:id="rId6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2C6E5F-9406-3085-2036-306390375A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1489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5DDA0-578F-D9E2-D60F-36B2BC5174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2A08591-6A26-5C10-412D-83AC52C23D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0898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A08591-6A26-5C10-412D-83AC52C23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F5550BE-630F-273B-3AD9-285EA6D39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gotiations | Tranche-3 overview</a:t>
            </a:r>
          </a:p>
        </p:txBody>
      </p:sp>
    </p:spTree>
    <p:extLst>
      <p:ext uri="{BB962C8B-B14F-4D97-AF65-F5344CB8AC3E}">
        <p14:creationId xmlns:p14="http://schemas.microsoft.com/office/powerpoint/2010/main" val="2490139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4B597C3-8830-6A5D-3BD4-CE2461AFE7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3562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84" imgH="486" progId="TCLayout.ActiveDocument.1">
                  <p:embed/>
                </p:oleObj>
              </mc:Choice>
              <mc:Fallback>
                <p:oleObj name="think-cell Slide" r:id="rId11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B597C3-8830-6A5D-3BD4-CE2461AFE7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42960BD-81F6-777F-9206-6748106BAD8F}"/>
              </a:ext>
            </a:extLst>
          </p:cNvPr>
          <p:cNvSpPr txBox="1"/>
          <p:nvPr/>
        </p:nvSpPr>
        <p:spPr>
          <a:xfrm>
            <a:off x="5181600" y="1065531"/>
            <a:ext cx="6380400" cy="13219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tx2"/>
                </a:solidFill>
                <a:latin typeface="+mj-lt"/>
              </a:rPr>
              <a:t>Project area restrictions</a:t>
            </a:r>
          </a:p>
          <a:p>
            <a:pPr marL="324000" lvl="1" indent="-216000" algn="l" defTabSz="914400" rtl="0" eaLnBrk="1" latinLnBrk="0" hangingPunct="1">
              <a:lnSpc>
                <a:spcPct val="100000"/>
              </a:lnSpc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j-lt"/>
                <a:sym typeface="Trebuchet MS" panose="020B0603020202020204" pitchFamily="34" charset="0"/>
              </a:rPr>
              <a:t>All </a:t>
            </a:r>
            <a:r>
              <a:rPr lang="en-US" sz="1400" dirty="0" err="1">
                <a:solidFill>
                  <a:schemeClr val="tx1"/>
                </a:solidFill>
                <a:latin typeface="+mj-lt"/>
                <a:sym typeface="Trebuchet MS" panose="020B0603020202020204" pitchFamily="34" charset="0"/>
              </a:rPr>
              <a:t>CBGs</a:t>
            </a:r>
            <a:r>
              <a:rPr lang="en-US" sz="1400" dirty="0">
                <a:solidFill>
                  <a:schemeClr val="tx1"/>
                </a:solidFill>
                <a:latin typeface="+mj-lt"/>
                <a:sym typeface="Trebuchet MS" panose="020B0603020202020204" pitchFamily="34" charset="0"/>
              </a:rPr>
              <a:t> that remain at the beginning of Tranche-3 are available for bidding</a:t>
            </a:r>
          </a:p>
          <a:p>
            <a:pPr marL="324000" lvl="1" indent="-216000" algn="l" defTabSz="914400" rtl="0" eaLnBrk="1" latinLnBrk="0" hangingPunct="1">
              <a:lnSpc>
                <a:spcPct val="100000"/>
              </a:lnSpc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j-lt"/>
                <a:sym typeface="Trebuchet MS" panose="020B0603020202020204" pitchFamily="34" charset="0"/>
              </a:rPr>
              <a:t>A bid's project area may only include a single CBG</a:t>
            </a:r>
            <a:r>
              <a:rPr lang="en-US" sz="1400" baseline="30000" dirty="0">
                <a:solidFill>
                  <a:schemeClr val="tx1"/>
                </a:solidFill>
                <a:latin typeface="+mj-lt"/>
                <a:sym typeface="Trebuchet MS" panose="020B0603020202020204" pitchFamily="34" charset="0"/>
              </a:rPr>
              <a:t>1</a:t>
            </a:r>
          </a:p>
          <a:p>
            <a:pPr marL="324000" lvl="1" indent="-216000" algn="l" defTabSz="914400" rtl="0" eaLnBrk="1" latinLnBrk="0" hangingPunct="1">
              <a:lnSpc>
                <a:spcPct val="100000"/>
              </a:lnSpc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+mj-lt"/>
                <a:sym typeface="Trebuchet MS" panose="020B0603020202020204" pitchFamily="34" charset="0"/>
              </a:rPr>
              <a:t>An applicant may bid on a </a:t>
            </a:r>
            <a:r>
              <a:rPr lang="en-US" sz="1400" dirty="0" err="1">
                <a:solidFill>
                  <a:schemeClr val="tx1"/>
                </a:solidFill>
                <a:latin typeface="+mj-lt"/>
                <a:sym typeface="Trebuchet MS" panose="020B0603020202020204" pitchFamily="34" charset="0"/>
              </a:rPr>
              <a:t>CBG</a:t>
            </a:r>
            <a:r>
              <a:rPr lang="en-US" sz="1400" dirty="0">
                <a:solidFill>
                  <a:schemeClr val="tx1"/>
                </a:solidFill>
                <a:latin typeface="+mj-lt"/>
                <a:sym typeface="Trebuchet MS" panose="020B0603020202020204" pitchFamily="34" charset="0"/>
              </a:rPr>
              <a:t> up to 3 tim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F072F8-20E3-C3AA-5242-2C954750D5D8}"/>
              </a:ext>
            </a:extLst>
          </p:cNvPr>
          <p:cNvSpPr txBox="1"/>
          <p:nvPr/>
        </p:nvSpPr>
        <p:spPr>
          <a:xfrm>
            <a:off x="5181600" y="3084622"/>
            <a:ext cx="6380400" cy="84638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en-US" sz="1600" b="1" dirty="0">
                <a:solidFill>
                  <a:schemeClr val="tx2"/>
                </a:solidFill>
              </a:rPr>
              <a:t>Tranche-3 rules of adjudication</a:t>
            </a:r>
          </a:p>
          <a:p>
            <a:pPr marL="324000" lvl="1" indent="-216000"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Rule #1: </a:t>
            </a:r>
            <a:r>
              <a:rPr lang="en-US" sz="1400" dirty="0">
                <a:solidFill>
                  <a:schemeClr val="tx1"/>
                </a:solidFill>
              </a:rPr>
              <a:t>Preliminary selections will have the highest score of the highest technology type or are the sole bidder on their project area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38324CE9-5A6A-EEE8-5E7C-A0887FC011A6}"/>
              </a:ext>
            </a:extLst>
          </p:cNvPr>
          <p:cNvGrpSpPr/>
          <p:nvPr/>
        </p:nvGrpSpPr>
        <p:grpSpPr>
          <a:xfrm>
            <a:off x="4377841" y="3153392"/>
            <a:ext cx="708164" cy="708846"/>
            <a:chOff x="4229585" y="3686201"/>
            <a:chExt cx="1004675" cy="1005645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5A9A4C7-A572-A1D8-3B42-8351939DC15D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4229585" y="3686201"/>
              <a:ext cx="1004675" cy="1005645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5" name="bcgIcons_Gavel ">
              <a:extLst>
                <a:ext uri="{FF2B5EF4-FFF2-40B4-BE49-F238E27FC236}">
                  <a16:creationId xmlns:a16="http://schemas.microsoft.com/office/drawing/2014/main" id="{A380D45A-B7AD-102B-9EC9-96264D463AB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376716" y="3833474"/>
              <a:ext cx="710413" cy="711099"/>
              <a:chOff x="5273675" y="2514600"/>
              <a:chExt cx="1644650" cy="1646238"/>
            </a:xfrm>
          </p:grpSpPr>
          <p:sp>
            <p:nvSpPr>
              <p:cNvPr id="26" name="AutoShape 3">
                <a:extLst>
                  <a:ext uri="{FF2B5EF4-FFF2-40B4-BE49-F238E27FC236}">
                    <a16:creationId xmlns:a16="http://schemas.microsoft.com/office/drawing/2014/main" id="{D33DB9F8-B09A-8956-E9F6-B6D163BFCBE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514600"/>
                <a:ext cx="1644650" cy="16462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4DF33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B2C1A4A5-4A47-6843-C3CA-CAF7A2B7F2B8}"/>
                  </a:ext>
                </a:extLst>
              </p:cNvPr>
              <p:cNvGrpSpPr/>
              <p:nvPr/>
            </p:nvGrpSpPr>
            <p:grpSpPr>
              <a:xfrm>
                <a:off x="5439085" y="2789764"/>
                <a:ext cx="1313830" cy="1095911"/>
                <a:chOff x="5437188" y="2790289"/>
                <a:chExt cx="1313830" cy="1095911"/>
              </a:xfrm>
            </p:grpSpPr>
            <p:sp>
              <p:nvSpPr>
                <p:cNvPr id="28" name="Freeform 5">
                  <a:extLst>
                    <a:ext uri="{FF2B5EF4-FFF2-40B4-BE49-F238E27FC236}">
                      <a16:creationId xmlns:a16="http://schemas.microsoft.com/office/drawing/2014/main" id="{52D374C5-0B2C-A574-E4FC-F3AA911929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37188" y="2790289"/>
                  <a:ext cx="741363" cy="1095911"/>
                </a:xfrm>
                <a:custGeom>
                  <a:avLst/>
                  <a:gdLst>
                    <a:gd name="connsiteX0" fmla="*/ 59994 w 741363"/>
                    <a:gd name="connsiteY0" fmla="*/ 940336 h 1095911"/>
                    <a:gd name="connsiteX1" fmla="*/ 681369 w 741363"/>
                    <a:gd name="connsiteY1" fmla="*/ 940336 h 1095911"/>
                    <a:gd name="connsiteX2" fmla="*/ 697081 w 741363"/>
                    <a:gd name="connsiteY2" fmla="*/ 956182 h 1095911"/>
                    <a:gd name="connsiteX3" fmla="*/ 697081 w 741363"/>
                    <a:gd name="connsiteY3" fmla="*/ 1006600 h 1095911"/>
                    <a:gd name="connsiteX4" fmla="*/ 725650 w 741363"/>
                    <a:gd name="connsiteY4" fmla="*/ 1006600 h 1095911"/>
                    <a:gd name="connsiteX5" fmla="*/ 741363 w 741363"/>
                    <a:gd name="connsiteY5" fmla="*/ 1022445 h 1095911"/>
                    <a:gd name="connsiteX6" fmla="*/ 741363 w 741363"/>
                    <a:gd name="connsiteY6" fmla="*/ 1079345 h 1095911"/>
                    <a:gd name="connsiteX7" fmla="*/ 725650 w 741363"/>
                    <a:gd name="connsiteY7" fmla="*/ 1095911 h 1095911"/>
                    <a:gd name="connsiteX8" fmla="*/ 15713 w 741363"/>
                    <a:gd name="connsiteY8" fmla="*/ 1095911 h 1095911"/>
                    <a:gd name="connsiteX9" fmla="*/ 0 w 741363"/>
                    <a:gd name="connsiteY9" fmla="*/ 1079345 h 1095911"/>
                    <a:gd name="connsiteX10" fmla="*/ 0 w 741363"/>
                    <a:gd name="connsiteY10" fmla="*/ 1022445 h 1095911"/>
                    <a:gd name="connsiteX11" fmla="*/ 15713 w 741363"/>
                    <a:gd name="connsiteY11" fmla="*/ 1006600 h 1095911"/>
                    <a:gd name="connsiteX12" fmla="*/ 44282 w 741363"/>
                    <a:gd name="connsiteY12" fmla="*/ 1006600 h 1095911"/>
                    <a:gd name="connsiteX13" fmla="*/ 44282 w 741363"/>
                    <a:gd name="connsiteY13" fmla="*/ 956182 h 1095911"/>
                    <a:gd name="connsiteX14" fmla="*/ 59994 w 741363"/>
                    <a:gd name="connsiteY14" fmla="*/ 940336 h 1095911"/>
                    <a:gd name="connsiteX15" fmla="*/ 243001 w 741363"/>
                    <a:gd name="connsiteY15" fmla="*/ 537111 h 1095911"/>
                    <a:gd name="connsiteX16" fmla="*/ 257312 w 741363"/>
                    <a:gd name="connsiteY16" fmla="*/ 544981 h 1095911"/>
                    <a:gd name="connsiteX17" fmla="*/ 497021 w 741363"/>
                    <a:gd name="connsiteY17" fmla="*/ 632975 h 1095911"/>
                    <a:gd name="connsiteX18" fmla="*/ 512763 w 741363"/>
                    <a:gd name="connsiteY18" fmla="*/ 635836 h 1095911"/>
                    <a:gd name="connsiteX19" fmla="*/ 501314 w 741363"/>
                    <a:gd name="connsiteY19" fmla="*/ 667314 h 1095911"/>
                    <a:gd name="connsiteX20" fmla="*/ 441208 w 741363"/>
                    <a:gd name="connsiteY20" fmla="*/ 695214 h 1095911"/>
                    <a:gd name="connsiteX21" fmla="*/ 259458 w 741363"/>
                    <a:gd name="connsiteY21" fmla="*/ 628682 h 1095911"/>
                    <a:gd name="connsiteX22" fmla="*/ 231552 w 741363"/>
                    <a:gd name="connsiteY22" fmla="*/ 568589 h 1095911"/>
                    <a:gd name="connsiteX23" fmla="*/ 243001 w 741363"/>
                    <a:gd name="connsiteY23" fmla="*/ 537111 h 1095911"/>
                    <a:gd name="connsiteX24" fmla="*/ 488852 w 741363"/>
                    <a:gd name="connsiteY24" fmla="*/ 2734 h 1095911"/>
                    <a:gd name="connsiteX25" fmla="*/ 670054 w 741363"/>
                    <a:gd name="connsiteY25" fmla="*/ 69694 h 1095911"/>
                    <a:gd name="connsiteX26" fmla="*/ 697876 w 741363"/>
                    <a:gd name="connsiteY26" fmla="*/ 128819 h 1095911"/>
                    <a:gd name="connsiteX27" fmla="*/ 685749 w 741363"/>
                    <a:gd name="connsiteY27" fmla="*/ 160874 h 1095911"/>
                    <a:gd name="connsiteX28" fmla="*/ 672194 w 741363"/>
                    <a:gd name="connsiteY28" fmla="*/ 152326 h 1095911"/>
                    <a:gd name="connsiteX29" fmla="*/ 433207 w 741363"/>
                    <a:gd name="connsiteY29" fmla="*/ 65420 h 1095911"/>
                    <a:gd name="connsiteX30" fmla="*/ 417512 w 741363"/>
                    <a:gd name="connsiteY30" fmla="*/ 62571 h 1095911"/>
                    <a:gd name="connsiteX31" fmla="*/ 428927 w 741363"/>
                    <a:gd name="connsiteY31" fmla="*/ 30516 h 1095911"/>
                    <a:gd name="connsiteX32" fmla="*/ 488852 w 741363"/>
                    <a:gd name="connsiteY32" fmla="*/ 2734 h 1095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741363" h="1095911">
                      <a:moveTo>
                        <a:pt x="59994" y="940336"/>
                      </a:moveTo>
                      <a:cubicBezTo>
                        <a:pt x="59994" y="940336"/>
                        <a:pt x="59994" y="940336"/>
                        <a:pt x="681369" y="940336"/>
                      </a:cubicBezTo>
                      <a:cubicBezTo>
                        <a:pt x="690653" y="940336"/>
                        <a:pt x="697081" y="947539"/>
                        <a:pt x="697081" y="956182"/>
                      </a:cubicBezTo>
                      <a:cubicBezTo>
                        <a:pt x="697081" y="956182"/>
                        <a:pt x="697081" y="956182"/>
                        <a:pt x="697081" y="1006600"/>
                      </a:cubicBezTo>
                      <a:cubicBezTo>
                        <a:pt x="697081" y="1006600"/>
                        <a:pt x="697081" y="1006600"/>
                        <a:pt x="725650" y="1006600"/>
                      </a:cubicBezTo>
                      <a:cubicBezTo>
                        <a:pt x="734221" y="1006600"/>
                        <a:pt x="741363" y="1013802"/>
                        <a:pt x="741363" y="1022445"/>
                      </a:cubicBezTo>
                      <a:cubicBezTo>
                        <a:pt x="741363" y="1022445"/>
                        <a:pt x="741363" y="1022445"/>
                        <a:pt x="741363" y="1079345"/>
                      </a:cubicBezTo>
                      <a:cubicBezTo>
                        <a:pt x="741363" y="1088709"/>
                        <a:pt x="734221" y="1095911"/>
                        <a:pt x="725650" y="1095911"/>
                      </a:cubicBezTo>
                      <a:cubicBezTo>
                        <a:pt x="725650" y="1095911"/>
                        <a:pt x="725650" y="1095911"/>
                        <a:pt x="15713" y="1095911"/>
                      </a:cubicBezTo>
                      <a:cubicBezTo>
                        <a:pt x="7142" y="1095911"/>
                        <a:pt x="0" y="1088709"/>
                        <a:pt x="0" y="1079345"/>
                      </a:cubicBezTo>
                      <a:cubicBezTo>
                        <a:pt x="0" y="1079345"/>
                        <a:pt x="0" y="1079345"/>
                        <a:pt x="0" y="1022445"/>
                      </a:cubicBezTo>
                      <a:cubicBezTo>
                        <a:pt x="0" y="1013802"/>
                        <a:pt x="7142" y="1006600"/>
                        <a:pt x="15713" y="1006600"/>
                      </a:cubicBezTo>
                      <a:cubicBezTo>
                        <a:pt x="15713" y="1006600"/>
                        <a:pt x="15713" y="1006600"/>
                        <a:pt x="44282" y="1006600"/>
                      </a:cubicBezTo>
                      <a:cubicBezTo>
                        <a:pt x="44282" y="1006600"/>
                        <a:pt x="44282" y="1006600"/>
                        <a:pt x="44282" y="956182"/>
                      </a:cubicBezTo>
                      <a:cubicBezTo>
                        <a:pt x="44282" y="947539"/>
                        <a:pt x="51424" y="940336"/>
                        <a:pt x="59994" y="940336"/>
                      </a:cubicBezTo>
                      <a:close/>
                      <a:moveTo>
                        <a:pt x="243001" y="537111"/>
                      </a:moveTo>
                      <a:cubicBezTo>
                        <a:pt x="247294" y="539973"/>
                        <a:pt x="251587" y="542834"/>
                        <a:pt x="257312" y="544981"/>
                      </a:cubicBezTo>
                      <a:cubicBezTo>
                        <a:pt x="257312" y="544981"/>
                        <a:pt x="257312" y="544981"/>
                        <a:pt x="497021" y="632975"/>
                      </a:cubicBezTo>
                      <a:cubicBezTo>
                        <a:pt x="502030" y="634405"/>
                        <a:pt x="507039" y="635836"/>
                        <a:pt x="512763" y="635836"/>
                      </a:cubicBezTo>
                      <a:cubicBezTo>
                        <a:pt x="512763" y="635836"/>
                        <a:pt x="512763" y="635836"/>
                        <a:pt x="501314" y="667314"/>
                      </a:cubicBezTo>
                      <a:cubicBezTo>
                        <a:pt x="492012" y="691637"/>
                        <a:pt x="465537" y="703799"/>
                        <a:pt x="441208" y="695214"/>
                      </a:cubicBezTo>
                      <a:cubicBezTo>
                        <a:pt x="441208" y="695214"/>
                        <a:pt x="441208" y="695214"/>
                        <a:pt x="259458" y="628682"/>
                      </a:cubicBezTo>
                      <a:cubicBezTo>
                        <a:pt x="235130" y="619382"/>
                        <a:pt x="222250" y="592912"/>
                        <a:pt x="231552" y="568589"/>
                      </a:cubicBezTo>
                      <a:cubicBezTo>
                        <a:pt x="231552" y="568589"/>
                        <a:pt x="231552" y="568589"/>
                        <a:pt x="243001" y="537111"/>
                      </a:cubicBezTo>
                      <a:close/>
                      <a:moveTo>
                        <a:pt x="488852" y="2734"/>
                      </a:moveTo>
                      <a:cubicBezTo>
                        <a:pt x="488852" y="2734"/>
                        <a:pt x="488852" y="2734"/>
                        <a:pt x="670054" y="69694"/>
                      </a:cubicBezTo>
                      <a:cubicBezTo>
                        <a:pt x="694310" y="78242"/>
                        <a:pt x="706437" y="104599"/>
                        <a:pt x="697876" y="128819"/>
                      </a:cubicBezTo>
                      <a:cubicBezTo>
                        <a:pt x="697876" y="128819"/>
                        <a:pt x="697876" y="128819"/>
                        <a:pt x="685749" y="160874"/>
                      </a:cubicBezTo>
                      <a:cubicBezTo>
                        <a:pt x="682182" y="157312"/>
                        <a:pt x="677188" y="154463"/>
                        <a:pt x="672194" y="152326"/>
                      </a:cubicBezTo>
                      <a:lnTo>
                        <a:pt x="433207" y="65420"/>
                      </a:lnTo>
                      <a:cubicBezTo>
                        <a:pt x="428213" y="63283"/>
                        <a:pt x="422506" y="62571"/>
                        <a:pt x="417512" y="62571"/>
                      </a:cubicBezTo>
                      <a:cubicBezTo>
                        <a:pt x="417512" y="62571"/>
                        <a:pt x="417512" y="62571"/>
                        <a:pt x="428927" y="30516"/>
                      </a:cubicBezTo>
                      <a:cubicBezTo>
                        <a:pt x="437487" y="6296"/>
                        <a:pt x="464596" y="-5814"/>
                        <a:pt x="488852" y="273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29" name="Freeform 6">
                  <a:extLst>
                    <a:ext uri="{FF2B5EF4-FFF2-40B4-BE49-F238E27FC236}">
                      <a16:creationId xmlns:a16="http://schemas.microsoft.com/office/drawing/2014/main" id="{AFDA0ADB-AF50-6667-F45B-CD549979F7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95077" y="2883282"/>
                  <a:ext cx="1055941" cy="616303"/>
                </a:xfrm>
                <a:custGeom>
                  <a:avLst/>
                  <a:gdLst>
                    <a:gd name="connsiteX0" fmla="*/ 387558 w 1055941"/>
                    <a:gd name="connsiteY0" fmla="*/ 269493 h 616303"/>
                    <a:gd name="connsiteX1" fmla="*/ 393981 w 1055941"/>
                    <a:gd name="connsiteY1" fmla="*/ 270920 h 616303"/>
                    <a:gd name="connsiteX2" fmla="*/ 1027064 w 1055941"/>
                    <a:gd name="connsiteY2" fmla="*/ 482090 h 616303"/>
                    <a:gd name="connsiteX3" fmla="*/ 1053472 w 1055941"/>
                    <a:gd name="connsiteY3" fmla="*/ 537022 h 616303"/>
                    <a:gd name="connsiteX4" fmla="*/ 1034201 w 1055941"/>
                    <a:gd name="connsiteY4" fmla="*/ 589101 h 616303"/>
                    <a:gd name="connsiteX5" fmla="*/ 979244 w 1055941"/>
                    <a:gd name="connsiteY5" fmla="*/ 613357 h 616303"/>
                    <a:gd name="connsiteX6" fmla="*/ 359008 w 1055941"/>
                    <a:gd name="connsiteY6" fmla="*/ 365090 h 616303"/>
                    <a:gd name="connsiteX7" fmla="*/ 353298 w 1055941"/>
                    <a:gd name="connsiteY7" fmla="*/ 361523 h 616303"/>
                    <a:gd name="connsiteX8" fmla="*/ 387558 w 1055941"/>
                    <a:gd name="connsiteY8" fmla="*/ 269493 h 616303"/>
                    <a:gd name="connsiteX9" fmla="*/ 164418 w 1055941"/>
                    <a:gd name="connsiteY9" fmla="*/ 889 h 616303"/>
                    <a:gd name="connsiteX10" fmla="*/ 403099 w 1055941"/>
                    <a:gd name="connsiteY10" fmla="*/ 88757 h 616303"/>
                    <a:gd name="connsiteX11" fmla="*/ 412361 w 1055941"/>
                    <a:gd name="connsiteY11" fmla="*/ 108759 h 616303"/>
                    <a:gd name="connsiteX12" fmla="*/ 326151 w 1055941"/>
                    <a:gd name="connsiteY12" fmla="*/ 343789 h 616303"/>
                    <a:gd name="connsiteX13" fmla="*/ 269153 w 1055941"/>
                    <a:gd name="connsiteY13" fmla="*/ 499522 h 616303"/>
                    <a:gd name="connsiteX14" fmla="*/ 249204 w 1055941"/>
                    <a:gd name="connsiteY14" fmla="*/ 508809 h 616303"/>
                    <a:gd name="connsiteX15" fmla="*/ 10523 w 1055941"/>
                    <a:gd name="connsiteY15" fmla="*/ 421656 h 616303"/>
                    <a:gd name="connsiteX16" fmla="*/ 1261 w 1055941"/>
                    <a:gd name="connsiteY16" fmla="*/ 400939 h 616303"/>
                    <a:gd name="connsiteX17" fmla="*/ 143757 w 1055941"/>
                    <a:gd name="connsiteY17" fmla="*/ 10176 h 616303"/>
                    <a:gd name="connsiteX18" fmla="*/ 164418 w 1055941"/>
                    <a:gd name="connsiteY18" fmla="*/ 889 h 6163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055941" h="616303">
                      <a:moveTo>
                        <a:pt x="387558" y="269493"/>
                      </a:moveTo>
                      <a:cubicBezTo>
                        <a:pt x="389699" y="269493"/>
                        <a:pt x="391840" y="270207"/>
                        <a:pt x="393981" y="270920"/>
                      </a:cubicBezTo>
                      <a:cubicBezTo>
                        <a:pt x="393981" y="270920"/>
                        <a:pt x="393981" y="270920"/>
                        <a:pt x="1027064" y="482090"/>
                      </a:cubicBezTo>
                      <a:cubicBezTo>
                        <a:pt x="1049903" y="489937"/>
                        <a:pt x="1061323" y="514193"/>
                        <a:pt x="1053472" y="537022"/>
                      </a:cubicBezTo>
                      <a:cubicBezTo>
                        <a:pt x="1053472" y="537022"/>
                        <a:pt x="1053472" y="537022"/>
                        <a:pt x="1034201" y="589101"/>
                      </a:cubicBezTo>
                      <a:cubicBezTo>
                        <a:pt x="1026350" y="611217"/>
                        <a:pt x="1001369" y="621918"/>
                        <a:pt x="979244" y="613357"/>
                      </a:cubicBezTo>
                      <a:cubicBezTo>
                        <a:pt x="979244" y="613357"/>
                        <a:pt x="979244" y="613357"/>
                        <a:pt x="359008" y="365090"/>
                      </a:cubicBezTo>
                      <a:cubicBezTo>
                        <a:pt x="356867" y="364377"/>
                        <a:pt x="355439" y="362950"/>
                        <a:pt x="353298" y="361523"/>
                      </a:cubicBezTo>
                      <a:cubicBezTo>
                        <a:pt x="353298" y="361523"/>
                        <a:pt x="353298" y="361523"/>
                        <a:pt x="387558" y="269493"/>
                      </a:cubicBezTo>
                      <a:close/>
                      <a:moveTo>
                        <a:pt x="164418" y="889"/>
                      </a:moveTo>
                      <a:cubicBezTo>
                        <a:pt x="164418" y="889"/>
                        <a:pt x="164418" y="889"/>
                        <a:pt x="403099" y="88757"/>
                      </a:cubicBezTo>
                      <a:cubicBezTo>
                        <a:pt x="410936" y="91614"/>
                        <a:pt x="415211" y="100901"/>
                        <a:pt x="412361" y="108759"/>
                      </a:cubicBezTo>
                      <a:cubicBezTo>
                        <a:pt x="412361" y="108759"/>
                        <a:pt x="412361" y="108759"/>
                        <a:pt x="326151" y="343789"/>
                      </a:cubicBezTo>
                      <a:cubicBezTo>
                        <a:pt x="326151" y="343789"/>
                        <a:pt x="326151" y="343789"/>
                        <a:pt x="269153" y="499522"/>
                      </a:cubicBezTo>
                      <a:cubicBezTo>
                        <a:pt x="266303" y="508095"/>
                        <a:pt x="257041" y="512381"/>
                        <a:pt x="249204" y="508809"/>
                      </a:cubicBezTo>
                      <a:cubicBezTo>
                        <a:pt x="249204" y="508809"/>
                        <a:pt x="249204" y="508809"/>
                        <a:pt x="10523" y="421656"/>
                      </a:cubicBezTo>
                      <a:cubicBezTo>
                        <a:pt x="1973" y="418084"/>
                        <a:pt x="-2302" y="409511"/>
                        <a:pt x="1261" y="400939"/>
                      </a:cubicBezTo>
                      <a:cubicBezTo>
                        <a:pt x="1261" y="400939"/>
                        <a:pt x="1261" y="400939"/>
                        <a:pt x="143757" y="10176"/>
                      </a:cubicBezTo>
                      <a:cubicBezTo>
                        <a:pt x="147319" y="2317"/>
                        <a:pt x="155869" y="-1969"/>
                        <a:pt x="164418" y="889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5D3821E-21A3-1D83-3F6B-198881FA0791}"/>
              </a:ext>
            </a:extLst>
          </p:cNvPr>
          <p:cNvCxnSpPr/>
          <p:nvPr/>
        </p:nvCxnSpPr>
        <p:spPr>
          <a:xfrm>
            <a:off x="4377840" y="2617164"/>
            <a:ext cx="7184160" cy="0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26F1A88-8714-6648-9D6A-6521E7F51C0D}"/>
              </a:ext>
            </a:extLst>
          </p:cNvPr>
          <p:cNvCxnSpPr/>
          <p:nvPr/>
        </p:nvCxnSpPr>
        <p:spPr>
          <a:xfrm>
            <a:off x="4377840" y="4398465"/>
            <a:ext cx="7184160" cy="0"/>
          </a:xfrm>
          <a:prstGeom prst="line">
            <a:avLst/>
          </a:prstGeom>
          <a:ln w="12700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itle 47">
            <a:extLst>
              <a:ext uri="{FF2B5EF4-FFF2-40B4-BE49-F238E27FC236}">
                <a16:creationId xmlns:a16="http://schemas.microsoft.com/office/drawing/2014/main" id="{F2E9D8FA-4E30-FC2E-9529-A9EFAAC0B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2764203"/>
            <a:ext cx="3227625" cy="1314311"/>
          </a:xfrm>
        </p:spPr>
        <p:txBody>
          <a:bodyPr vert="horz"/>
          <a:lstStyle/>
          <a:p>
            <a:r>
              <a:rPr lang="en-US" b="0" i="0" u="none" strike="noStrike" dirty="0">
                <a:solidFill>
                  <a:schemeClr val="accent3"/>
                </a:solidFill>
                <a:effectLst/>
                <a:latin typeface="Arial" panose="020B0604020202020204" pitchFamily="34" charset="0"/>
              </a:rPr>
              <a:t>Tranche-3 | </a:t>
            </a:r>
            <a:br>
              <a:rPr lang="en-US" b="0" i="0" u="none" strike="noStrike" dirty="0">
                <a:solidFill>
                  <a:srgbClr val="D4DF33"/>
                </a:solidFill>
                <a:effectLst/>
                <a:latin typeface="Arial" panose="020B0604020202020204" pitchFamily="34" charset="0"/>
              </a:rPr>
            </a:br>
            <a:r>
              <a:rPr lang="en-US" b="0" i="0" u="none" strike="noStrike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</a:t>
            </a:r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</a:rPr>
              <a:t>roject area restrictions and rules of adjudication for T3</a:t>
            </a:r>
            <a:endParaRPr lang="en-US" dirty="0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1990962-7B03-1C54-EB16-5A8CD5494FD6}"/>
              </a:ext>
            </a:extLst>
          </p:cNvPr>
          <p:cNvGrpSpPr/>
          <p:nvPr/>
        </p:nvGrpSpPr>
        <p:grpSpPr>
          <a:xfrm>
            <a:off x="4377840" y="1372090"/>
            <a:ext cx="708848" cy="708846"/>
            <a:chOff x="4377840" y="285751"/>
            <a:chExt cx="708848" cy="708846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2F5EE174-075E-A93C-9633-64F4039118BA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4377840" y="285751"/>
              <a:ext cx="708848" cy="708846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43" name="bcgIcons_Building Blocks ">
              <a:extLst>
                <a:ext uri="{FF2B5EF4-FFF2-40B4-BE49-F238E27FC236}">
                  <a16:creationId xmlns:a16="http://schemas.microsoft.com/office/drawing/2014/main" id="{B4CF923E-B2D2-6D9C-5FB2-5E585FB45E6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481881" y="389559"/>
              <a:ext cx="500765" cy="501230"/>
              <a:chOff x="1682" y="0"/>
              <a:chExt cx="4316" cy="4320"/>
            </a:xfrm>
          </p:grpSpPr>
          <p:sp>
            <p:nvSpPr>
              <p:cNvPr id="44" name="AutoShape 3">
                <a:extLst>
                  <a:ext uri="{FF2B5EF4-FFF2-40B4-BE49-F238E27FC236}">
                    <a16:creationId xmlns:a16="http://schemas.microsoft.com/office/drawing/2014/main" id="{8A4F6225-B1A1-8AB9-C5A9-C755E88DE98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33D6589F-3BD9-2094-189D-FFEDE1EDF6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79" y="889"/>
                <a:ext cx="2526" cy="2529"/>
              </a:xfrm>
              <a:custGeom>
                <a:avLst/>
                <a:gdLst>
                  <a:gd name="T0" fmla="*/ 0 w 2526"/>
                  <a:gd name="T1" fmla="*/ 2529 h 2529"/>
                  <a:gd name="T2" fmla="*/ 0 w 2526"/>
                  <a:gd name="T3" fmla="*/ 1305 h 2529"/>
                  <a:gd name="T4" fmla="*/ 1222 w 2526"/>
                  <a:gd name="T5" fmla="*/ 1305 h 2529"/>
                  <a:gd name="T6" fmla="*/ 1222 w 2526"/>
                  <a:gd name="T7" fmla="*/ 2529 h 2529"/>
                  <a:gd name="T8" fmla="*/ 0 w 2526"/>
                  <a:gd name="T9" fmla="*/ 2529 h 2529"/>
                  <a:gd name="T10" fmla="*/ 2526 w 2526"/>
                  <a:gd name="T11" fmla="*/ 2529 h 2529"/>
                  <a:gd name="T12" fmla="*/ 2526 w 2526"/>
                  <a:gd name="T13" fmla="*/ 1305 h 2529"/>
                  <a:gd name="T14" fmla="*/ 1304 w 2526"/>
                  <a:gd name="T15" fmla="*/ 1305 h 2529"/>
                  <a:gd name="T16" fmla="*/ 1304 w 2526"/>
                  <a:gd name="T17" fmla="*/ 2529 h 2529"/>
                  <a:gd name="T18" fmla="*/ 2526 w 2526"/>
                  <a:gd name="T19" fmla="*/ 2529 h 2529"/>
                  <a:gd name="T20" fmla="*/ 2526 w 2526"/>
                  <a:gd name="T21" fmla="*/ 1222 h 2529"/>
                  <a:gd name="T22" fmla="*/ 2526 w 2526"/>
                  <a:gd name="T23" fmla="*/ 0 h 2529"/>
                  <a:gd name="T24" fmla="*/ 1304 w 2526"/>
                  <a:gd name="T25" fmla="*/ 0 h 2529"/>
                  <a:gd name="T26" fmla="*/ 1304 w 2526"/>
                  <a:gd name="T27" fmla="*/ 1222 h 2529"/>
                  <a:gd name="T28" fmla="*/ 2526 w 2526"/>
                  <a:gd name="T29" fmla="*/ 1222 h 2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26" h="2529">
                    <a:moveTo>
                      <a:pt x="0" y="2529"/>
                    </a:moveTo>
                    <a:lnTo>
                      <a:pt x="0" y="1305"/>
                    </a:lnTo>
                    <a:lnTo>
                      <a:pt x="1222" y="1305"/>
                    </a:lnTo>
                    <a:lnTo>
                      <a:pt x="1222" y="2529"/>
                    </a:lnTo>
                    <a:lnTo>
                      <a:pt x="0" y="2529"/>
                    </a:lnTo>
                    <a:close/>
                    <a:moveTo>
                      <a:pt x="2526" y="2529"/>
                    </a:moveTo>
                    <a:lnTo>
                      <a:pt x="2526" y="1305"/>
                    </a:lnTo>
                    <a:lnTo>
                      <a:pt x="1304" y="1305"/>
                    </a:lnTo>
                    <a:lnTo>
                      <a:pt x="1304" y="2529"/>
                    </a:lnTo>
                    <a:lnTo>
                      <a:pt x="2526" y="2529"/>
                    </a:lnTo>
                    <a:close/>
                    <a:moveTo>
                      <a:pt x="2526" y="1222"/>
                    </a:moveTo>
                    <a:lnTo>
                      <a:pt x="2526" y="0"/>
                    </a:lnTo>
                    <a:lnTo>
                      <a:pt x="1304" y="0"/>
                    </a:lnTo>
                    <a:lnTo>
                      <a:pt x="1304" y="1222"/>
                    </a:lnTo>
                    <a:lnTo>
                      <a:pt x="2526" y="122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6">
                <a:extLst>
                  <a:ext uri="{FF2B5EF4-FFF2-40B4-BE49-F238E27FC236}">
                    <a16:creationId xmlns:a16="http://schemas.microsoft.com/office/drawing/2014/main" id="{528FDBFA-1C30-4CC5-0DCA-EE62742EEB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5" y="724"/>
                <a:ext cx="2854" cy="2859"/>
              </a:xfrm>
              <a:custGeom>
                <a:avLst/>
                <a:gdLst>
                  <a:gd name="T0" fmla="*/ 1502 w 1524"/>
                  <a:gd name="T1" fmla="*/ 1525 h 1525"/>
                  <a:gd name="T2" fmla="*/ 22 w 1524"/>
                  <a:gd name="T3" fmla="*/ 1525 h 1525"/>
                  <a:gd name="T4" fmla="*/ 0 w 1524"/>
                  <a:gd name="T5" fmla="*/ 1503 h 1525"/>
                  <a:gd name="T6" fmla="*/ 0 w 1524"/>
                  <a:gd name="T7" fmla="*/ 718 h 1525"/>
                  <a:gd name="T8" fmla="*/ 22 w 1524"/>
                  <a:gd name="T9" fmla="*/ 696 h 1525"/>
                  <a:gd name="T10" fmla="*/ 696 w 1524"/>
                  <a:gd name="T11" fmla="*/ 696 h 1525"/>
                  <a:gd name="T12" fmla="*/ 696 w 1524"/>
                  <a:gd name="T13" fmla="*/ 22 h 1525"/>
                  <a:gd name="T14" fmla="*/ 718 w 1524"/>
                  <a:gd name="T15" fmla="*/ 0 h 1525"/>
                  <a:gd name="T16" fmla="*/ 1502 w 1524"/>
                  <a:gd name="T17" fmla="*/ 0 h 1525"/>
                  <a:gd name="T18" fmla="*/ 1524 w 1524"/>
                  <a:gd name="T19" fmla="*/ 22 h 1525"/>
                  <a:gd name="T20" fmla="*/ 1524 w 1524"/>
                  <a:gd name="T21" fmla="*/ 1503 h 1525"/>
                  <a:gd name="T22" fmla="*/ 1502 w 1524"/>
                  <a:gd name="T23" fmla="*/ 1525 h 1525"/>
                  <a:gd name="T24" fmla="*/ 44 w 1524"/>
                  <a:gd name="T25" fmla="*/ 1481 h 1525"/>
                  <a:gd name="T26" fmla="*/ 1480 w 1524"/>
                  <a:gd name="T27" fmla="*/ 1481 h 1525"/>
                  <a:gd name="T28" fmla="*/ 1480 w 1524"/>
                  <a:gd name="T29" fmla="*/ 44 h 1525"/>
                  <a:gd name="T30" fmla="*/ 740 w 1524"/>
                  <a:gd name="T31" fmla="*/ 44 h 1525"/>
                  <a:gd name="T32" fmla="*/ 740 w 1524"/>
                  <a:gd name="T33" fmla="*/ 718 h 1525"/>
                  <a:gd name="T34" fmla="*/ 718 w 1524"/>
                  <a:gd name="T35" fmla="*/ 740 h 1525"/>
                  <a:gd name="T36" fmla="*/ 44 w 1524"/>
                  <a:gd name="T37" fmla="*/ 740 h 1525"/>
                  <a:gd name="T38" fmla="*/ 44 w 1524"/>
                  <a:gd name="T39" fmla="*/ 1481 h 1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524" h="1525">
                    <a:moveTo>
                      <a:pt x="1502" y="1525"/>
                    </a:moveTo>
                    <a:cubicBezTo>
                      <a:pt x="22" y="1525"/>
                      <a:pt x="22" y="1525"/>
                      <a:pt x="22" y="1525"/>
                    </a:cubicBezTo>
                    <a:cubicBezTo>
                      <a:pt x="10" y="1525"/>
                      <a:pt x="0" y="1515"/>
                      <a:pt x="0" y="1503"/>
                    </a:cubicBezTo>
                    <a:cubicBezTo>
                      <a:pt x="0" y="718"/>
                      <a:pt x="0" y="718"/>
                      <a:pt x="0" y="718"/>
                    </a:cubicBezTo>
                    <a:cubicBezTo>
                      <a:pt x="0" y="706"/>
                      <a:pt x="10" y="696"/>
                      <a:pt x="22" y="696"/>
                    </a:cubicBezTo>
                    <a:cubicBezTo>
                      <a:pt x="696" y="696"/>
                      <a:pt x="696" y="696"/>
                      <a:pt x="696" y="696"/>
                    </a:cubicBezTo>
                    <a:cubicBezTo>
                      <a:pt x="696" y="22"/>
                      <a:pt x="696" y="22"/>
                      <a:pt x="696" y="22"/>
                    </a:cubicBezTo>
                    <a:cubicBezTo>
                      <a:pt x="696" y="10"/>
                      <a:pt x="706" y="0"/>
                      <a:pt x="718" y="0"/>
                    </a:cubicBezTo>
                    <a:cubicBezTo>
                      <a:pt x="1502" y="0"/>
                      <a:pt x="1502" y="0"/>
                      <a:pt x="1502" y="0"/>
                    </a:cubicBezTo>
                    <a:cubicBezTo>
                      <a:pt x="1514" y="0"/>
                      <a:pt x="1524" y="10"/>
                      <a:pt x="1524" y="22"/>
                    </a:cubicBezTo>
                    <a:cubicBezTo>
                      <a:pt x="1524" y="1503"/>
                      <a:pt x="1524" y="1503"/>
                      <a:pt x="1524" y="1503"/>
                    </a:cubicBezTo>
                    <a:cubicBezTo>
                      <a:pt x="1524" y="1515"/>
                      <a:pt x="1514" y="1525"/>
                      <a:pt x="1502" y="1525"/>
                    </a:cubicBezTo>
                    <a:close/>
                    <a:moveTo>
                      <a:pt x="44" y="1481"/>
                    </a:moveTo>
                    <a:cubicBezTo>
                      <a:pt x="1480" y="1481"/>
                      <a:pt x="1480" y="1481"/>
                      <a:pt x="1480" y="1481"/>
                    </a:cubicBezTo>
                    <a:cubicBezTo>
                      <a:pt x="1480" y="44"/>
                      <a:pt x="1480" y="44"/>
                      <a:pt x="1480" y="44"/>
                    </a:cubicBezTo>
                    <a:cubicBezTo>
                      <a:pt x="740" y="44"/>
                      <a:pt x="740" y="44"/>
                      <a:pt x="740" y="44"/>
                    </a:cubicBezTo>
                    <a:cubicBezTo>
                      <a:pt x="740" y="718"/>
                      <a:pt x="740" y="718"/>
                      <a:pt x="740" y="718"/>
                    </a:cubicBezTo>
                    <a:cubicBezTo>
                      <a:pt x="740" y="730"/>
                      <a:pt x="730" y="740"/>
                      <a:pt x="718" y="740"/>
                    </a:cubicBezTo>
                    <a:cubicBezTo>
                      <a:pt x="44" y="740"/>
                      <a:pt x="44" y="740"/>
                      <a:pt x="44" y="740"/>
                    </a:cubicBezTo>
                    <a:lnTo>
                      <a:pt x="44" y="148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09BE5D14-5D5B-F3D0-E497-6DC6C0A1FB54}"/>
              </a:ext>
            </a:extLst>
          </p:cNvPr>
          <p:cNvSpPr txBox="1"/>
          <p:nvPr/>
        </p:nvSpPr>
        <p:spPr>
          <a:xfrm>
            <a:off x="5181600" y="4865922"/>
            <a:ext cx="6380400" cy="84638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en-US" sz="1600" b="1" dirty="0">
                <a:solidFill>
                  <a:schemeClr val="tx2"/>
                </a:solidFill>
              </a:rPr>
              <a:t>Technology type eligibility</a:t>
            </a:r>
          </a:p>
          <a:p>
            <a:pPr marL="324000" lvl="1" indent="-216000"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n Tranche-3, all technology type categories – Priority, Non-Priority, and Alternative – are eligible for preliminary selection</a:t>
            </a:r>
          </a:p>
        </p:txBody>
      </p:sp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2F7EE996-50B0-12BC-6DE9-481BAF6F21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2F7EE996-50B0-12BC-6DE9-481BAF6F21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CFB2EB36-C9FC-F74C-330C-6175F84C0C33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A1960C4-28A7-6E39-0862-9349C7DCEA3D}"/>
              </a:ext>
            </a:extLst>
          </p:cNvPr>
          <p:cNvGrpSpPr/>
          <p:nvPr/>
        </p:nvGrpSpPr>
        <p:grpSpPr>
          <a:xfrm>
            <a:off x="4377841" y="4934692"/>
            <a:ext cx="708164" cy="708846"/>
            <a:chOff x="4377841" y="4360689"/>
            <a:chExt cx="708164" cy="708846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3724B978-EE45-CC16-0A92-D4C5B94BC75C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4377841" y="4360689"/>
              <a:ext cx="708164" cy="708846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39" name="bcgIcons_Internet/Web ">
              <a:extLst>
                <a:ext uri="{FF2B5EF4-FFF2-40B4-BE49-F238E27FC236}">
                  <a16:creationId xmlns:a16="http://schemas.microsoft.com/office/drawing/2014/main" id="{1ADA1E25-8E8D-5D5E-B504-645C11DDB76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81066" y="4464496"/>
              <a:ext cx="501714" cy="501230"/>
              <a:chOff x="6464300" y="2606675"/>
              <a:chExt cx="1646238" cy="1644650"/>
            </a:xfrm>
          </p:grpSpPr>
          <p:sp>
            <p:nvSpPr>
              <p:cNvPr id="40" name="AutoShape 3">
                <a:extLst>
                  <a:ext uri="{FF2B5EF4-FFF2-40B4-BE49-F238E27FC236}">
                    <a16:creationId xmlns:a16="http://schemas.microsoft.com/office/drawing/2014/main" id="{311B7882-2354-69F1-BE1C-91E59CCE9B8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464300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78205838-C766-C54D-CFA0-65752B2AA437}"/>
                  </a:ext>
                </a:extLst>
              </p:cNvPr>
              <p:cNvGrpSpPr/>
              <p:nvPr/>
            </p:nvGrpSpPr>
            <p:grpSpPr>
              <a:xfrm>
                <a:off x="6634163" y="2776538"/>
                <a:ext cx="1306513" cy="1304925"/>
                <a:chOff x="6634163" y="2776538"/>
                <a:chExt cx="1306513" cy="1304925"/>
              </a:xfrm>
            </p:grpSpPr>
            <p:sp>
              <p:nvSpPr>
                <p:cNvPr id="49" name="Freeform 12">
                  <a:extLst>
                    <a:ext uri="{FF2B5EF4-FFF2-40B4-BE49-F238E27FC236}">
                      <a16:creationId xmlns:a16="http://schemas.microsoft.com/office/drawing/2014/main" id="{B5F6EF49-A040-A858-F19C-8495E9E7C5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97663" y="2838450"/>
                  <a:ext cx="1179513" cy="1179513"/>
                </a:xfrm>
                <a:custGeom>
                  <a:avLst/>
                  <a:gdLst>
                    <a:gd name="connsiteX0" fmla="*/ 879944 w 1179513"/>
                    <a:gd name="connsiteY0" fmla="*/ 1017588 h 1179513"/>
                    <a:gd name="connsiteX1" fmla="*/ 869939 w 1179513"/>
                    <a:gd name="connsiteY1" fmla="*/ 1047033 h 1179513"/>
                    <a:gd name="connsiteX2" fmla="*/ 883517 w 1179513"/>
                    <a:gd name="connsiteY2" fmla="*/ 1080786 h 1179513"/>
                    <a:gd name="connsiteX3" fmla="*/ 898525 w 1179513"/>
                    <a:gd name="connsiteY3" fmla="*/ 1090840 h 1179513"/>
                    <a:gd name="connsiteX4" fmla="*/ 704850 w 1179513"/>
                    <a:gd name="connsiteY4" fmla="*/ 1168401 h 1179513"/>
                    <a:gd name="connsiteX5" fmla="*/ 769885 w 1179513"/>
                    <a:gd name="connsiteY5" fmla="*/ 1114539 h 1179513"/>
                    <a:gd name="connsiteX6" fmla="*/ 842781 w 1179513"/>
                    <a:gd name="connsiteY6" fmla="*/ 1022615 h 1179513"/>
                    <a:gd name="connsiteX7" fmla="*/ 855645 w 1179513"/>
                    <a:gd name="connsiteY7" fmla="*/ 1024770 h 1179513"/>
                    <a:gd name="connsiteX8" fmla="*/ 879944 w 1179513"/>
                    <a:gd name="connsiteY8" fmla="*/ 1017588 h 1179513"/>
                    <a:gd name="connsiteX9" fmla="*/ 262876 w 1179513"/>
                    <a:gd name="connsiteY9" fmla="*/ 950913 h 1179513"/>
                    <a:gd name="connsiteX10" fmla="*/ 264307 w 1179513"/>
                    <a:gd name="connsiteY10" fmla="*/ 954490 h 1179513"/>
                    <a:gd name="connsiteX11" fmla="*/ 309383 w 1179513"/>
                    <a:gd name="connsiteY11" fmla="*/ 974522 h 1179513"/>
                    <a:gd name="connsiteX12" fmla="*/ 311530 w 1179513"/>
                    <a:gd name="connsiteY12" fmla="*/ 974522 h 1179513"/>
                    <a:gd name="connsiteX13" fmla="*/ 312961 w 1179513"/>
                    <a:gd name="connsiteY13" fmla="*/ 975953 h 1179513"/>
                    <a:gd name="connsiteX14" fmla="*/ 411699 w 1179513"/>
                    <a:gd name="connsiteY14" fmla="*/ 1118322 h 1179513"/>
                    <a:gd name="connsiteX15" fmla="*/ 474662 w 1179513"/>
                    <a:gd name="connsiteY15" fmla="*/ 1168401 h 1179513"/>
                    <a:gd name="connsiteX16" fmla="*/ 169862 w 1179513"/>
                    <a:gd name="connsiteY16" fmla="*/ 1003139 h 1179513"/>
                    <a:gd name="connsiteX17" fmla="*/ 259299 w 1179513"/>
                    <a:gd name="connsiteY17" fmla="*/ 953059 h 1179513"/>
                    <a:gd name="connsiteX18" fmla="*/ 262876 w 1179513"/>
                    <a:gd name="connsiteY18" fmla="*/ 950913 h 1179513"/>
                    <a:gd name="connsiteX19" fmla="*/ 626998 w 1179513"/>
                    <a:gd name="connsiteY19" fmla="*/ 903288 h 1179513"/>
                    <a:gd name="connsiteX20" fmla="*/ 630581 w 1179513"/>
                    <a:gd name="connsiteY20" fmla="*/ 903288 h 1179513"/>
                    <a:gd name="connsiteX21" fmla="*/ 745956 w 1179513"/>
                    <a:gd name="connsiteY21" fmla="*/ 910426 h 1179513"/>
                    <a:gd name="connsiteX22" fmla="*/ 759572 w 1179513"/>
                    <a:gd name="connsiteY22" fmla="*/ 941831 h 1179513"/>
                    <a:gd name="connsiteX23" fmla="*/ 793253 w 1179513"/>
                    <a:gd name="connsiteY23" fmla="*/ 956106 h 1179513"/>
                    <a:gd name="connsiteX24" fmla="*/ 821917 w 1179513"/>
                    <a:gd name="connsiteY24" fmla="*/ 946114 h 1179513"/>
                    <a:gd name="connsiteX25" fmla="*/ 822634 w 1179513"/>
                    <a:gd name="connsiteY25" fmla="*/ 1010352 h 1179513"/>
                    <a:gd name="connsiteX26" fmla="*/ 825500 w 1179513"/>
                    <a:gd name="connsiteY26" fmla="*/ 1013207 h 1179513"/>
                    <a:gd name="connsiteX27" fmla="*/ 758855 w 1179513"/>
                    <a:gd name="connsiteY27" fmla="*/ 1098145 h 1179513"/>
                    <a:gd name="connsiteX28" fmla="*/ 644197 w 1179513"/>
                    <a:gd name="connsiteY28" fmla="*/ 1175944 h 1179513"/>
                    <a:gd name="connsiteX29" fmla="*/ 596900 w 1179513"/>
                    <a:gd name="connsiteY29" fmla="*/ 1179513 h 1179513"/>
                    <a:gd name="connsiteX30" fmla="*/ 596900 w 1179513"/>
                    <a:gd name="connsiteY30" fmla="*/ 936121 h 1179513"/>
                    <a:gd name="connsiteX31" fmla="*/ 599050 w 1179513"/>
                    <a:gd name="connsiteY31" fmla="*/ 936121 h 1179513"/>
                    <a:gd name="connsiteX32" fmla="*/ 626998 w 1179513"/>
                    <a:gd name="connsiteY32" fmla="*/ 904716 h 1179513"/>
                    <a:gd name="connsiteX33" fmla="*/ 626998 w 1179513"/>
                    <a:gd name="connsiteY33" fmla="*/ 903288 h 1179513"/>
                    <a:gd name="connsiteX34" fmla="*/ 543242 w 1179513"/>
                    <a:gd name="connsiteY34" fmla="*/ 903288 h 1179513"/>
                    <a:gd name="connsiteX35" fmla="*/ 546114 w 1179513"/>
                    <a:gd name="connsiteY35" fmla="*/ 903288 h 1179513"/>
                    <a:gd name="connsiteX36" fmla="*/ 546114 w 1179513"/>
                    <a:gd name="connsiteY36" fmla="*/ 904716 h 1179513"/>
                    <a:gd name="connsiteX37" fmla="*/ 574827 w 1179513"/>
                    <a:gd name="connsiteY37" fmla="*/ 936121 h 1179513"/>
                    <a:gd name="connsiteX38" fmla="*/ 576262 w 1179513"/>
                    <a:gd name="connsiteY38" fmla="*/ 936121 h 1179513"/>
                    <a:gd name="connsiteX39" fmla="*/ 576262 w 1179513"/>
                    <a:gd name="connsiteY39" fmla="*/ 1179513 h 1179513"/>
                    <a:gd name="connsiteX40" fmla="*/ 536064 w 1179513"/>
                    <a:gd name="connsiteY40" fmla="*/ 1175944 h 1179513"/>
                    <a:gd name="connsiteX41" fmla="*/ 424083 w 1179513"/>
                    <a:gd name="connsiteY41" fmla="*/ 1099572 h 1179513"/>
                    <a:gd name="connsiteX42" fmla="*/ 330766 w 1179513"/>
                    <a:gd name="connsiteY42" fmla="*/ 964671 h 1179513"/>
                    <a:gd name="connsiteX43" fmla="*/ 328612 w 1179513"/>
                    <a:gd name="connsiteY43" fmla="*/ 963244 h 1179513"/>
                    <a:gd name="connsiteX44" fmla="*/ 330766 w 1179513"/>
                    <a:gd name="connsiteY44" fmla="*/ 961103 h 1179513"/>
                    <a:gd name="connsiteX45" fmla="*/ 340815 w 1179513"/>
                    <a:gd name="connsiteY45" fmla="*/ 931125 h 1179513"/>
                    <a:gd name="connsiteX46" fmla="*/ 340815 w 1179513"/>
                    <a:gd name="connsiteY46" fmla="*/ 928270 h 1179513"/>
                    <a:gd name="connsiteX47" fmla="*/ 343687 w 1179513"/>
                    <a:gd name="connsiteY47" fmla="*/ 926128 h 1179513"/>
                    <a:gd name="connsiteX48" fmla="*/ 543242 w 1179513"/>
                    <a:gd name="connsiteY48" fmla="*/ 903288 h 1179513"/>
                    <a:gd name="connsiteX49" fmla="*/ 988495 w 1179513"/>
                    <a:gd name="connsiteY49" fmla="*/ 879475 h 1179513"/>
                    <a:gd name="connsiteX50" fmla="*/ 1046163 w 1179513"/>
                    <a:gd name="connsiteY50" fmla="*/ 887035 h 1179513"/>
                    <a:gd name="connsiteX51" fmla="*/ 988495 w 1179513"/>
                    <a:gd name="connsiteY51" fmla="*/ 880231 h 1179513"/>
                    <a:gd name="connsiteX52" fmla="*/ 920734 w 1179513"/>
                    <a:gd name="connsiteY52" fmla="*/ 890058 h 1179513"/>
                    <a:gd name="connsiteX53" fmla="*/ 904875 w 1179513"/>
                    <a:gd name="connsiteY53" fmla="*/ 895350 h 1179513"/>
                    <a:gd name="connsiteX54" fmla="*/ 922176 w 1179513"/>
                    <a:gd name="connsiteY54" fmla="*/ 889303 h 1179513"/>
                    <a:gd name="connsiteX55" fmla="*/ 988495 w 1179513"/>
                    <a:gd name="connsiteY55" fmla="*/ 879475 h 1179513"/>
                    <a:gd name="connsiteX56" fmla="*/ 975138 w 1179513"/>
                    <a:gd name="connsiteY56" fmla="*/ 588963 h 1179513"/>
                    <a:gd name="connsiteX57" fmla="*/ 1179513 w 1179513"/>
                    <a:gd name="connsiteY57" fmla="*/ 588963 h 1179513"/>
                    <a:gd name="connsiteX58" fmla="*/ 1179513 w 1179513"/>
                    <a:gd name="connsiteY58" fmla="*/ 590384 h 1179513"/>
                    <a:gd name="connsiteX59" fmla="*/ 1133226 w 1179513"/>
                    <a:gd name="connsiteY59" fmla="*/ 819151 h 1179513"/>
                    <a:gd name="connsiteX60" fmla="*/ 987956 w 1179513"/>
                    <a:gd name="connsiteY60" fmla="*/ 785049 h 1179513"/>
                    <a:gd name="connsiteX61" fmla="*/ 930275 w 1179513"/>
                    <a:gd name="connsiteY61" fmla="*/ 790733 h 1179513"/>
                    <a:gd name="connsiteX62" fmla="*/ 948790 w 1179513"/>
                    <a:gd name="connsiteY62" fmla="*/ 620223 h 1179513"/>
                    <a:gd name="connsiteX63" fmla="*/ 948790 w 1179513"/>
                    <a:gd name="connsiteY63" fmla="*/ 616671 h 1179513"/>
                    <a:gd name="connsiteX64" fmla="*/ 950214 w 1179513"/>
                    <a:gd name="connsiteY64" fmla="*/ 616671 h 1179513"/>
                    <a:gd name="connsiteX65" fmla="*/ 973714 w 1179513"/>
                    <a:gd name="connsiteY65" fmla="*/ 591805 h 1179513"/>
                    <a:gd name="connsiteX66" fmla="*/ 975138 w 1179513"/>
                    <a:gd name="connsiteY66" fmla="*/ 588963 h 1179513"/>
                    <a:gd name="connsiteX67" fmla="*/ 626918 w 1179513"/>
                    <a:gd name="connsiteY67" fmla="*/ 588963 h 1179513"/>
                    <a:gd name="connsiteX68" fmla="*/ 895653 w 1179513"/>
                    <a:gd name="connsiteY68" fmla="*/ 588963 h 1179513"/>
                    <a:gd name="connsiteX69" fmla="*/ 895653 w 1179513"/>
                    <a:gd name="connsiteY69" fmla="*/ 591814 h 1179513"/>
                    <a:gd name="connsiteX70" fmla="*/ 925671 w 1179513"/>
                    <a:gd name="connsiteY70" fmla="*/ 618896 h 1179513"/>
                    <a:gd name="connsiteX71" fmla="*/ 927100 w 1179513"/>
                    <a:gd name="connsiteY71" fmla="*/ 618896 h 1179513"/>
                    <a:gd name="connsiteX72" fmla="*/ 927100 w 1179513"/>
                    <a:gd name="connsiteY72" fmla="*/ 621746 h 1179513"/>
                    <a:gd name="connsiteX73" fmla="*/ 907803 w 1179513"/>
                    <a:gd name="connsiteY73" fmla="*/ 795640 h 1179513"/>
                    <a:gd name="connsiteX74" fmla="*/ 894223 w 1179513"/>
                    <a:gd name="connsiteY74" fmla="*/ 799916 h 1179513"/>
                    <a:gd name="connsiteX75" fmla="*/ 759856 w 1179513"/>
                    <a:gd name="connsiteY75" fmla="*/ 875460 h 1179513"/>
                    <a:gd name="connsiteX76" fmla="*/ 749850 w 1179513"/>
                    <a:gd name="connsiteY76" fmla="*/ 889001 h 1179513"/>
                    <a:gd name="connsiteX77" fmla="*/ 629063 w 1179513"/>
                    <a:gd name="connsiteY77" fmla="*/ 881162 h 1179513"/>
                    <a:gd name="connsiteX78" fmla="*/ 626918 w 1179513"/>
                    <a:gd name="connsiteY78" fmla="*/ 881162 h 1179513"/>
                    <a:gd name="connsiteX79" fmla="*/ 625489 w 1179513"/>
                    <a:gd name="connsiteY79" fmla="*/ 878311 h 1179513"/>
                    <a:gd name="connsiteX80" fmla="*/ 599044 w 1179513"/>
                    <a:gd name="connsiteY80" fmla="*/ 853367 h 1179513"/>
                    <a:gd name="connsiteX81" fmla="*/ 596900 w 1179513"/>
                    <a:gd name="connsiteY81" fmla="*/ 851229 h 1179513"/>
                    <a:gd name="connsiteX82" fmla="*/ 596900 w 1179513"/>
                    <a:gd name="connsiteY82" fmla="*/ 618896 h 1179513"/>
                    <a:gd name="connsiteX83" fmla="*/ 599044 w 1179513"/>
                    <a:gd name="connsiteY83" fmla="*/ 616758 h 1179513"/>
                    <a:gd name="connsiteX84" fmla="*/ 625489 w 1179513"/>
                    <a:gd name="connsiteY84" fmla="*/ 591814 h 1179513"/>
                    <a:gd name="connsiteX85" fmla="*/ 626918 w 1179513"/>
                    <a:gd name="connsiteY85" fmla="*/ 588963 h 1179513"/>
                    <a:gd name="connsiteX86" fmla="*/ 282272 w 1179513"/>
                    <a:gd name="connsiteY86" fmla="*/ 588963 h 1179513"/>
                    <a:gd name="connsiteX87" fmla="*/ 548298 w 1179513"/>
                    <a:gd name="connsiteY87" fmla="*/ 588963 h 1179513"/>
                    <a:gd name="connsiteX88" fmla="*/ 548298 w 1179513"/>
                    <a:gd name="connsiteY88" fmla="*/ 591817 h 1179513"/>
                    <a:gd name="connsiteX89" fmla="*/ 574829 w 1179513"/>
                    <a:gd name="connsiteY89" fmla="*/ 616789 h 1179513"/>
                    <a:gd name="connsiteX90" fmla="*/ 576263 w 1179513"/>
                    <a:gd name="connsiteY90" fmla="*/ 618929 h 1179513"/>
                    <a:gd name="connsiteX91" fmla="*/ 576263 w 1179513"/>
                    <a:gd name="connsiteY91" fmla="*/ 851525 h 1179513"/>
                    <a:gd name="connsiteX92" fmla="*/ 574829 w 1179513"/>
                    <a:gd name="connsiteY92" fmla="*/ 853665 h 1179513"/>
                    <a:gd name="connsiteX93" fmla="*/ 548298 w 1179513"/>
                    <a:gd name="connsiteY93" fmla="*/ 878637 h 1179513"/>
                    <a:gd name="connsiteX94" fmla="*/ 548298 w 1179513"/>
                    <a:gd name="connsiteY94" fmla="*/ 881491 h 1179513"/>
                    <a:gd name="connsiteX95" fmla="*/ 544713 w 1179513"/>
                    <a:gd name="connsiteY95" fmla="*/ 881491 h 1179513"/>
                    <a:gd name="connsiteX96" fmla="*/ 336051 w 1179513"/>
                    <a:gd name="connsiteY96" fmla="*/ 906463 h 1179513"/>
                    <a:gd name="connsiteX97" fmla="*/ 333900 w 1179513"/>
                    <a:gd name="connsiteY97" fmla="*/ 906463 h 1179513"/>
                    <a:gd name="connsiteX98" fmla="*/ 332466 w 1179513"/>
                    <a:gd name="connsiteY98" fmla="*/ 905036 h 1179513"/>
                    <a:gd name="connsiteX99" fmla="*/ 302350 w 1179513"/>
                    <a:gd name="connsiteY99" fmla="*/ 888626 h 1179513"/>
                    <a:gd name="connsiteX100" fmla="*/ 300915 w 1179513"/>
                    <a:gd name="connsiteY100" fmla="*/ 888626 h 1179513"/>
                    <a:gd name="connsiteX101" fmla="*/ 298764 w 1179513"/>
                    <a:gd name="connsiteY101" fmla="*/ 886486 h 1179513"/>
                    <a:gd name="connsiteX102" fmla="*/ 257175 w 1179513"/>
                    <a:gd name="connsiteY102" fmla="*/ 618929 h 1179513"/>
                    <a:gd name="connsiteX103" fmla="*/ 257175 w 1179513"/>
                    <a:gd name="connsiteY103" fmla="*/ 616789 h 1179513"/>
                    <a:gd name="connsiteX104" fmla="*/ 258609 w 1179513"/>
                    <a:gd name="connsiteY104" fmla="*/ 615362 h 1179513"/>
                    <a:gd name="connsiteX105" fmla="*/ 282272 w 1179513"/>
                    <a:gd name="connsiteY105" fmla="*/ 591817 h 1179513"/>
                    <a:gd name="connsiteX106" fmla="*/ 282272 w 1179513"/>
                    <a:gd name="connsiteY106" fmla="*/ 588963 h 1179513"/>
                    <a:gd name="connsiteX107" fmla="*/ 0 w 1179513"/>
                    <a:gd name="connsiteY107" fmla="*/ 588963 h 1179513"/>
                    <a:gd name="connsiteX108" fmla="*/ 202940 w 1179513"/>
                    <a:gd name="connsiteY108" fmla="*/ 588963 h 1179513"/>
                    <a:gd name="connsiteX109" fmla="*/ 205084 w 1179513"/>
                    <a:gd name="connsiteY109" fmla="*/ 591813 h 1179513"/>
                    <a:gd name="connsiteX110" fmla="*/ 235096 w 1179513"/>
                    <a:gd name="connsiteY110" fmla="*/ 618889 h 1179513"/>
                    <a:gd name="connsiteX111" fmla="*/ 237954 w 1179513"/>
                    <a:gd name="connsiteY111" fmla="*/ 620314 h 1179513"/>
                    <a:gd name="connsiteX112" fmla="*/ 237954 w 1179513"/>
                    <a:gd name="connsiteY112" fmla="*/ 621739 h 1179513"/>
                    <a:gd name="connsiteX113" fmla="*/ 279400 w 1179513"/>
                    <a:gd name="connsiteY113" fmla="*/ 891073 h 1179513"/>
                    <a:gd name="connsiteX114" fmla="*/ 279400 w 1179513"/>
                    <a:gd name="connsiteY114" fmla="*/ 893210 h 1179513"/>
                    <a:gd name="connsiteX115" fmla="*/ 277971 w 1179513"/>
                    <a:gd name="connsiteY115" fmla="*/ 894635 h 1179513"/>
                    <a:gd name="connsiteX116" fmla="*/ 257963 w 1179513"/>
                    <a:gd name="connsiteY116" fmla="*/ 928124 h 1179513"/>
                    <a:gd name="connsiteX117" fmla="*/ 257963 w 1179513"/>
                    <a:gd name="connsiteY117" fmla="*/ 929549 h 1179513"/>
                    <a:gd name="connsiteX118" fmla="*/ 256533 w 1179513"/>
                    <a:gd name="connsiteY118" fmla="*/ 930974 h 1179513"/>
                    <a:gd name="connsiteX119" fmla="*/ 155063 w 1179513"/>
                    <a:gd name="connsiteY119" fmla="*/ 985838 h 1179513"/>
                    <a:gd name="connsiteX120" fmla="*/ 0 w 1179513"/>
                    <a:gd name="connsiteY120" fmla="*/ 590388 h 1179513"/>
                    <a:gd name="connsiteX121" fmla="*/ 0 w 1179513"/>
                    <a:gd name="connsiteY121" fmla="*/ 588963 h 1179513"/>
                    <a:gd name="connsiteX122" fmla="*/ 832043 w 1179513"/>
                    <a:gd name="connsiteY122" fmla="*/ 258763 h 1179513"/>
                    <a:gd name="connsiteX123" fmla="*/ 833472 w 1179513"/>
                    <a:gd name="connsiteY123" fmla="*/ 258763 h 1179513"/>
                    <a:gd name="connsiteX124" fmla="*/ 835616 w 1179513"/>
                    <a:gd name="connsiteY124" fmla="*/ 260192 h 1179513"/>
                    <a:gd name="connsiteX125" fmla="*/ 882073 w 1179513"/>
                    <a:gd name="connsiteY125" fmla="*/ 281629 h 1179513"/>
                    <a:gd name="connsiteX126" fmla="*/ 885647 w 1179513"/>
                    <a:gd name="connsiteY126" fmla="*/ 280200 h 1179513"/>
                    <a:gd name="connsiteX127" fmla="*/ 885647 w 1179513"/>
                    <a:gd name="connsiteY127" fmla="*/ 283773 h 1179513"/>
                    <a:gd name="connsiteX128" fmla="*/ 927100 w 1179513"/>
                    <a:gd name="connsiteY128" fmla="*/ 530296 h 1179513"/>
                    <a:gd name="connsiteX129" fmla="*/ 927100 w 1179513"/>
                    <a:gd name="connsiteY129" fmla="*/ 533868 h 1179513"/>
                    <a:gd name="connsiteX130" fmla="*/ 925671 w 1179513"/>
                    <a:gd name="connsiteY130" fmla="*/ 533868 h 1179513"/>
                    <a:gd name="connsiteX131" fmla="*/ 893508 w 1179513"/>
                    <a:gd name="connsiteY131" fmla="*/ 565309 h 1179513"/>
                    <a:gd name="connsiteX132" fmla="*/ 893508 w 1179513"/>
                    <a:gd name="connsiteY132" fmla="*/ 566738 h 1179513"/>
                    <a:gd name="connsiteX133" fmla="*/ 626918 w 1179513"/>
                    <a:gd name="connsiteY133" fmla="*/ 566738 h 1179513"/>
                    <a:gd name="connsiteX134" fmla="*/ 626918 w 1179513"/>
                    <a:gd name="connsiteY134" fmla="*/ 565309 h 1179513"/>
                    <a:gd name="connsiteX135" fmla="*/ 599044 w 1179513"/>
                    <a:gd name="connsiteY135" fmla="*/ 533868 h 1179513"/>
                    <a:gd name="connsiteX136" fmla="*/ 596900 w 1179513"/>
                    <a:gd name="connsiteY136" fmla="*/ 533868 h 1179513"/>
                    <a:gd name="connsiteX137" fmla="*/ 596900 w 1179513"/>
                    <a:gd name="connsiteY137" fmla="*/ 313784 h 1179513"/>
                    <a:gd name="connsiteX138" fmla="*/ 599044 w 1179513"/>
                    <a:gd name="connsiteY138" fmla="*/ 311641 h 1179513"/>
                    <a:gd name="connsiteX139" fmla="*/ 626918 w 1179513"/>
                    <a:gd name="connsiteY139" fmla="*/ 283773 h 1179513"/>
                    <a:gd name="connsiteX140" fmla="*/ 626918 w 1179513"/>
                    <a:gd name="connsiteY140" fmla="*/ 280200 h 1179513"/>
                    <a:gd name="connsiteX141" fmla="*/ 630492 w 1179513"/>
                    <a:gd name="connsiteY141" fmla="*/ 280200 h 1179513"/>
                    <a:gd name="connsiteX142" fmla="*/ 832043 w 1179513"/>
                    <a:gd name="connsiteY142" fmla="*/ 258763 h 1179513"/>
                    <a:gd name="connsiteX143" fmla="*/ 336051 w 1179513"/>
                    <a:gd name="connsiteY143" fmla="*/ 255588 h 1179513"/>
                    <a:gd name="connsiteX144" fmla="*/ 337485 w 1179513"/>
                    <a:gd name="connsiteY144" fmla="*/ 255588 h 1179513"/>
                    <a:gd name="connsiteX145" fmla="*/ 544713 w 1179513"/>
                    <a:gd name="connsiteY145" fmla="*/ 280566 h 1179513"/>
                    <a:gd name="connsiteX146" fmla="*/ 546147 w 1179513"/>
                    <a:gd name="connsiteY146" fmla="*/ 280566 h 1179513"/>
                    <a:gd name="connsiteX147" fmla="*/ 548298 w 1179513"/>
                    <a:gd name="connsiteY147" fmla="*/ 281993 h 1179513"/>
                    <a:gd name="connsiteX148" fmla="*/ 574829 w 1179513"/>
                    <a:gd name="connsiteY148" fmla="*/ 311966 h 1179513"/>
                    <a:gd name="connsiteX149" fmla="*/ 576263 w 1179513"/>
                    <a:gd name="connsiteY149" fmla="*/ 314107 h 1179513"/>
                    <a:gd name="connsiteX150" fmla="*/ 576263 w 1179513"/>
                    <a:gd name="connsiteY150" fmla="*/ 533910 h 1179513"/>
                    <a:gd name="connsiteX151" fmla="*/ 574829 w 1179513"/>
                    <a:gd name="connsiteY151" fmla="*/ 533910 h 1179513"/>
                    <a:gd name="connsiteX152" fmla="*/ 546147 w 1179513"/>
                    <a:gd name="connsiteY152" fmla="*/ 565311 h 1179513"/>
                    <a:gd name="connsiteX153" fmla="*/ 546147 w 1179513"/>
                    <a:gd name="connsiteY153" fmla="*/ 566738 h 1179513"/>
                    <a:gd name="connsiteX154" fmla="*/ 283706 w 1179513"/>
                    <a:gd name="connsiteY154" fmla="*/ 566738 h 1179513"/>
                    <a:gd name="connsiteX155" fmla="*/ 283706 w 1179513"/>
                    <a:gd name="connsiteY155" fmla="*/ 565311 h 1179513"/>
                    <a:gd name="connsiteX156" fmla="*/ 260761 w 1179513"/>
                    <a:gd name="connsiteY156" fmla="*/ 536765 h 1179513"/>
                    <a:gd name="connsiteX157" fmla="*/ 257175 w 1179513"/>
                    <a:gd name="connsiteY157" fmla="*/ 535338 h 1179513"/>
                    <a:gd name="connsiteX158" fmla="*/ 257175 w 1179513"/>
                    <a:gd name="connsiteY158" fmla="*/ 533910 h 1179513"/>
                    <a:gd name="connsiteX159" fmla="*/ 298764 w 1179513"/>
                    <a:gd name="connsiteY159" fmla="*/ 279138 h 1179513"/>
                    <a:gd name="connsiteX160" fmla="*/ 298764 w 1179513"/>
                    <a:gd name="connsiteY160" fmla="*/ 276998 h 1179513"/>
                    <a:gd name="connsiteX161" fmla="*/ 302350 w 1179513"/>
                    <a:gd name="connsiteY161" fmla="*/ 276998 h 1179513"/>
                    <a:gd name="connsiteX162" fmla="*/ 333900 w 1179513"/>
                    <a:gd name="connsiteY162" fmla="*/ 257015 h 1179513"/>
                    <a:gd name="connsiteX163" fmla="*/ 336051 w 1179513"/>
                    <a:gd name="connsiteY163" fmla="*/ 255588 h 1179513"/>
                    <a:gd name="connsiteX164" fmla="*/ 1019471 w 1179513"/>
                    <a:gd name="connsiteY164" fmla="*/ 187325 h 1179513"/>
                    <a:gd name="connsiteX165" fmla="*/ 1177925 w 1179513"/>
                    <a:gd name="connsiteY165" fmla="*/ 566738 h 1179513"/>
                    <a:gd name="connsiteX166" fmla="*/ 974504 w 1179513"/>
                    <a:gd name="connsiteY166" fmla="*/ 566738 h 1179513"/>
                    <a:gd name="connsiteX167" fmla="*/ 974504 w 1179513"/>
                    <a:gd name="connsiteY167" fmla="*/ 565312 h 1179513"/>
                    <a:gd name="connsiteX168" fmla="*/ 949522 w 1179513"/>
                    <a:gd name="connsiteY168" fmla="*/ 535358 h 1179513"/>
                    <a:gd name="connsiteX169" fmla="*/ 948095 w 1179513"/>
                    <a:gd name="connsiteY169" fmla="*/ 533932 h 1179513"/>
                    <a:gd name="connsiteX170" fmla="*/ 948095 w 1179513"/>
                    <a:gd name="connsiteY170" fmla="*/ 531792 h 1179513"/>
                    <a:gd name="connsiteX171" fmla="*/ 903128 w 1179513"/>
                    <a:gd name="connsiteY171" fmla="*/ 270767 h 1179513"/>
                    <a:gd name="connsiteX172" fmla="*/ 901700 w 1179513"/>
                    <a:gd name="connsiteY172" fmla="*/ 269341 h 1179513"/>
                    <a:gd name="connsiteX173" fmla="*/ 903128 w 1179513"/>
                    <a:gd name="connsiteY173" fmla="*/ 267202 h 1179513"/>
                    <a:gd name="connsiteX174" fmla="*/ 913120 w 1179513"/>
                    <a:gd name="connsiteY174" fmla="*/ 239387 h 1179513"/>
                    <a:gd name="connsiteX175" fmla="*/ 913120 w 1179513"/>
                    <a:gd name="connsiteY175" fmla="*/ 237248 h 1179513"/>
                    <a:gd name="connsiteX176" fmla="*/ 916689 w 1179513"/>
                    <a:gd name="connsiteY176" fmla="*/ 235821 h 1179513"/>
                    <a:gd name="connsiteX177" fmla="*/ 1019471 w 1179513"/>
                    <a:gd name="connsiteY177" fmla="*/ 187325 h 1179513"/>
                    <a:gd name="connsiteX178" fmla="*/ 165132 w 1179513"/>
                    <a:gd name="connsiteY178" fmla="*/ 180975 h 1179513"/>
                    <a:gd name="connsiteX179" fmla="*/ 256546 w 1179513"/>
                    <a:gd name="connsiteY179" fmla="*/ 229643 h 1179513"/>
                    <a:gd name="connsiteX180" fmla="*/ 257975 w 1179513"/>
                    <a:gd name="connsiteY180" fmla="*/ 229643 h 1179513"/>
                    <a:gd name="connsiteX181" fmla="*/ 257975 w 1179513"/>
                    <a:gd name="connsiteY181" fmla="*/ 233221 h 1179513"/>
                    <a:gd name="connsiteX182" fmla="*/ 277972 w 1179513"/>
                    <a:gd name="connsiteY182" fmla="*/ 269722 h 1179513"/>
                    <a:gd name="connsiteX183" fmla="*/ 279400 w 1179513"/>
                    <a:gd name="connsiteY183" fmla="*/ 269722 h 1179513"/>
                    <a:gd name="connsiteX184" fmla="*/ 279400 w 1179513"/>
                    <a:gd name="connsiteY184" fmla="*/ 273301 h 1179513"/>
                    <a:gd name="connsiteX185" fmla="*/ 237978 w 1179513"/>
                    <a:gd name="connsiteY185" fmla="*/ 530237 h 1179513"/>
                    <a:gd name="connsiteX186" fmla="*/ 237978 w 1179513"/>
                    <a:gd name="connsiteY186" fmla="*/ 531669 h 1179513"/>
                    <a:gd name="connsiteX187" fmla="*/ 235121 w 1179513"/>
                    <a:gd name="connsiteY187" fmla="*/ 533816 h 1179513"/>
                    <a:gd name="connsiteX188" fmla="*/ 202983 w 1179513"/>
                    <a:gd name="connsiteY188" fmla="*/ 565307 h 1179513"/>
                    <a:gd name="connsiteX189" fmla="*/ 201555 w 1179513"/>
                    <a:gd name="connsiteY189" fmla="*/ 566738 h 1179513"/>
                    <a:gd name="connsiteX190" fmla="*/ 1587 w 1179513"/>
                    <a:gd name="connsiteY190" fmla="*/ 566738 h 1179513"/>
                    <a:gd name="connsiteX191" fmla="*/ 165132 w 1179513"/>
                    <a:gd name="connsiteY191" fmla="*/ 180975 h 1179513"/>
                    <a:gd name="connsiteX192" fmla="*/ 458787 w 1179513"/>
                    <a:gd name="connsiteY192" fmla="*/ 14288 h 1179513"/>
                    <a:gd name="connsiteX193" fmla="*/ 410911 w 1179513"/>
                    <a:gd name="connsiteY193" fmla="*/ 51920 h 1179513"/>
                    <a:gd name="connsiteX194" fmla="*/ 312299 w 1179513"/>
                    <a:gd name="connsiteY194" fmla="*/ 188249 h 1179513"/>
                    <a:gd name="connsiteX195" fmla="*/ 310870 w 1179513"/>
                    <a:gd name="connsiteY195" fmla="*/ 189670 h 1179513"/>
                    <a:gd name="connsiteX196" fmla="*/ 308726 w 1179513"/>
                    <a:gd name="connsiteY196" fmla="*/ 189670 h 1179513"/>
                    <a:gd name="connsiteX197" fmla="*/ 265851 w 1179513"/>
                    <a:gd name="connsiteY197" fmla="*/ 206001 h 1179513"/>
                    <a:gd name="connsiteX198" fmla="*/ 263707 w 1179513"/>
                    <a:gd name="connsiteY198" fmla="*/ 209551 h 1179513"/>
                    <a:gd name="connsiteX199" fmla="*/ 260849 w 1179513"/>
                    <a:gd name="connsiteY199" fmla="*/ 208131 h 1179513"/>
                    <a:gd name="connsiteX200" fmla="*/ 179387 w 1179513"/>
                    <a:gd name="connsiteY200" fmla="*/ 164818 h 1179513"/>
                    <a:gd name="connsiteX201" fmla="*/ 458787 w 1179513"/>
                    <a:gd name="connsiteY201" fmla="*/ 14288 h 1179513"/>
                    <a:gd name="connsiteX202" fmla="*/ 711200 w 1179513"/>
                    <a:gd name="connsiteY202" fmla="*/ 11113 h 1179513"/>
                    <a:gd name="connsiteX203" fmla="*/ 1004888 w 1179513"/>
                    <a:gd name="connsiteY203" fmla="*/ 170632 h 1179513"/>
                    <a:gd name="connsiteX204" fmla="*/ 910794 w 1179513"/>
                    <a:gd name="connsiteY204" fmla="*/ 215901 h 1179513"/>
                    <a:gd name="connsiteX205" fmla="*/ 907230 w 1179513"/>
                    <a:gd name="connsiteY205" fmla="*/ 215901 h 1179513"/>
                    <a:gd name="connsiteX206" fmla="*/ 907230 w 1179513"/>
                    <a:gd name="connsiteY206" fmla="*/ 214464 h 1179513"/>
                    <a:gd name="connsiteX207" fmla="*/ 873727 w 1179513"/>
                    <a:gd name="connsiteY207" fmla="*/ 195781 h 1179513"/>
                    <a:gd name="connsiteX208" fmla="*/ 872301 w 1179513"/>
                    <a:gd name="connsiteY208" fmla="*/ 195781 h 1179513"/>
                    <a:gd name="connsiteX209" fmla="*/ 870875 w 1179513"/>
                    <a:gd name="connsiteY209" fmla="*/ 194344 h 1179513"/>
                    <a:gd name="connsiteX210" fmla="*/ 768940 w 1179513"/>
                    <a:gd name="connsiteY210" fmla="*/ 56382 h 1179513"/>
                    <a:gd name="connsiteX211" fmla="*/ 711200 w 1179513"/>
                    <a:gd name="connsiteY211" fmla="*/ 11113 h 1179513"/>
                    <a:gd name="connsiteX212" fmla="*/ 596900 w 1179513"/>
                    <a:gd name="connsiteY212" fmla="*/ 0 h 1179513"/>
                    <a:gd name="connsiteX213" fmla="*/ 644152 w 1179513"/>
                    <a:gd name="connsiteY213" fmla="*/ 1430 h 1179513"/>
                    <a:gd name="connsiteX214" fmla="*/ 755837 w 1179513"/>
                    <a:gd name="connsiteY214" fmla="*/ 73626 h 1179513"/>
                    <a:gd name="connsiteX215" fmla="*/ 851056 w 1179513"/>
                    <a:gd name="connsiteY215" fmla="*/ 198718 h 1179513"/>
                    <a:gd name="connsiteX216" fmla="*/ 852488 w 1179513"/>
                    <a:gd name="connsiteY216" fmla="*/ 200148 h 1179513"/>
                    <a:gd name="connsiteX217" fmla="*/ 848909 w 1179513"/>
                    <a:gd name="connsiteY217" fmla="*/ 203722 h 1179513"/>
                    <a:gd name="connsiteX218" fmla="*/ 831010 w 1179513"/>
                    <a:gd name="connsiteY218" fmla="*/ 233744 h 1179513"/>
                    <a:gd name="connsiteX219" fmla="*/ 831010 w 1179513"/>
                    <a:gd name="connsiteY219" fmla="*/ 236604 h 1179513"/>
                    <a:gd name="connsiteX220" fmla="*/ 827431 w 1179513"/>
                    <a:gd name="connsiteY220" fmla="*/ 236604 h 1179513"/>
                    <a:gd name="connsiteX221" fmla="*/ 629117 w 1179513"/>
                    <a:gd name="connsiteY221" fmla="*/ 258763 h 1179513"/>
                    <a:gd name="connsiteX222" fmla="*/ 626969 w 1179513"/>
                    <a:gd name="connsiteY222" fmla="*/ 258763 h 1179513"/>
                    <a:gd name="connsiteX223" fmla="*/ 626969 w 1179513"/>
                    <a:gd name="connsiteY223" fmla="*/ 256619 h 1179513"/>
                    <a:gd name="connsiteX224" fmla="*/ 599048 w 1179513"/>
                    <a:gd name="connsiteY224" fmla="*/ 228741 h 1179513"/>
                    <a:gd name="connsiteX225" fmla="*/ 596900 w 1179513"/>
                    <a:gd name="connsiteY225" fmla="*/ 228741 h 1179513"/>
                    <a:gd name="connsiteX226" fmla="*/ 596900 w 1179513"/>
                    <a:gd name="connsiteY226" fmla="*/ 0 h 1179513"/>
                    <a:gd name="connsiteX227" fmla="*/ 576262 w 1179513"/>
                    <a:gd name="connsiteY227" fmla="*/ 0 h 1179513"/>
                    <a:gd name="connsiteX228" fmla="*/ 576262 w 1179513"/>
                    <a:gd name="connsiteY228" fmla="*/ 228741 h 1179513"/>
                    <a:gd name="connsiteX229" fmla="*/ 574827 w 1179513"/>
                    <a:gd name="connsiteY229" fmla="*/ 228741 h 1179513"/>
                    <a:gd name="connsiteX230" fmla="*/ 548267 w 1179513"/>
                    <a:gd name="connsiteY230" fmla="*/ 256619 h 1179513"/>
                    <a:gd name="connsiteX231" fmla="*/ 546114 w 1179513"/>
                    <a:gd name="connsiteY231" fmla="*/ 258763 h 1179513"/>
                    <a:gd name="connsiteX232" fmla="*/ 544678 w 1179513"/>
                    <a:gd name="connsiteY232" fmla="*/ 258763 h 1179513"/>
                    <a:gd name="connsiteX233" fmla="*/ 343687 w 1179513"/>
                    <a:gd name="connsiteY233" fmla="*/ 233744 h 1179513"/>
                    <a:gd name="connsiteX234" fmla="*/ 342251 w 1179513"/>
                    <a:gd name="connsiteY234" fmla="*/ 233744 h 1179513"/>
                    <a:gd name="connsiteX235" fmla="*/ 340815 w 1179513"/>
                    <a:gd name="connsiteY235" fmla="*/ 230170 h 1179513"/>
                    <a:gd name="connsiteX236" fmla="*/ 330766 w 1179513"/>
                    <a:gd name="connsiteY236" fmla="*/ 203722 h 1179513"/>
                    <a:gd name="connsiteX237" fmla="*/ 328612 w 1179513"/>
                    <a:gd name="connsiteY237" fmla="*/ 201578 h 1179513"/>
                    <a:gd name="connsiteX238" fmla="*/ 330766 w 1179513"/>
                    <a:gd name="connsiteY238" fmla="*/ 198718 h 1179513"/>
                    <a:gd name="connsiteX239" fmla="*/ 422647 w 1179513"/>
                    <a:gd name="connsiteY239" fmla="*/ 70052 h 1179513"/>
                    <a:gd name="connsiteX240" fmla="*/ 526014 w 1179513"/>
                    <a:gd name="connsiteY240" fmla="*/ 3574 h 1179513"/>
                    <a:gd name="connsiteX241" fmla="*/ 576262 w 1179513"/>
                    <a:gd name="connsiteY241" fmla="*/ 0 h 117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</a:cxnLst>
                  <a:rect l="l" t="t" r="r" b="b"/>
                  <a:pathLst>
                    <a:path w="1179513" h="1179513">
                      <a:moveTo>
                        <a:pt x="879944" y="1017588"/>
                      </a:moveTo>
                      <a:cubicBezTo>
                        <a:pt x="873512" y="1026206"/>
                        <a:pt x="869939" y="1036260"/>
                        <a:pt x="869939" y="1047033"/>
                      </a:cubicBezTo>
                      <a:cubicBezTo>
                        <a:pt x="869939" y="1059241"/>
                        <a:pt x="874227" y="1071450"/>
                        <a:pt x="883517" y="1080786"/>
                      </a:cubicBezTo>
                      <a:cubicBezTo>
                        <a:pt x="887805" y="1085095"/>
                        <a:pt x="892808" y="1088686"/>
                        <a:pt x="898525" y="1090840"/>
                      </a:cubicBezTo>
                      <a:cubicBezTo>
                        <a:pt x="839922" y="1127466"/>
                        <a:pt x="774173" y="1153320"/>
                        <a:pt x="704850" y="1168401"/>
                      </a:cubicBezTo>
                      <a:cubicBezTo>
                        <a:pt x="724861" y="1154756"/>
                        <a:pt x="748445" y="1136084"/>
                        <a:pt x="769885" y="1114539"/>
                      </a:cubicBezTo>
                      <a:cubicBezTo>
                        <a:pt x="797042" y="1088686"/>
                        <a:pt x="821341" y="1057805"/>
                        <a:pt x="842781" y="1022615"/>
                      </a:cubicBezTo>
                      <a:cubicBezTo>
                        <a:pt x="847069" y="1024052"/>
                        <a:pt x="851357" y="1024770"/>
                        <a:pt x="855645" y="1024770"/>
                      </a:cubicBezTo>
                      <a:cubicBezTo>
                        <a:pt x="864221" y="1024770"/>
                        <a:pt x="872797" y="1021897"/>
                        <a:pt x="879944" y="1017588"/>
                      </a:cubicBezTo>
                      <a:close/>
                      <a:moveTo>
                        <a:pt x="262876" y="950913"/>
                      </a:moveTo>
                      <a:cubicBezTo>
                        <a:pt x="262876" y="950913"/>
                        <a:pt x="262876" y="950913"/>
                        <a:pt x="264307" y="954490"/>
                      </a:cubicBezTo>
                      <a:cubicBezTo>
                        <a:pt x="272893" y="970945"/>
                        <a:pt x="291496" y="979530"/>
                        <a:pt x="309383" y="974522"/>
                      </a:cubicBezTo>
                      <a:cubicBezTo>
                        <a:pt x="309383" y="974522"/>
                        <a:pt x="309383" y="974522"/>
                        <a:pt x="311530" y="974522"/>
                      </a:cubicBezTo>
                      <a:cubicBezTo>
                        <a:pt x="311530" y="974522"/>
                        <a:pt x="311530" y="974522"/>
                        <a:pt x="312961" y="975953"/>
                      </a:cubicBezTo>
                      <a:cubicBezTo>
                        <a:pt x="339434" y="1031040"/>
                        <a:pt x="373062" y="1079689"/>
                        <a:pt x="411699" y="1118322"/>
                      </a:cubicBezTo>
                      <a:cubicBezTo>
                        <a:pt x="433164" y="1138353"/>
                        <a:pt x="454628" y="1154808"/>
                        <a:pt x="474662" y="1168401"/>
                      </a:cubicBezTo>
                      <a:cubicBezTo>
                        <a:pt x="356606" y="1144792"/>
                        <a:pt x="251428" y="1084697"/>
                        <a:pt x="169862" y="1003139"/>
                      </a:cubicBezTo>
                      <a:cubicBezTo>
                        <a:pt x="186318" y="989546"/>
                        <a:pt x="214938" y="970945"/>
                        <a:pt x="259299" y="953059"/>
                      </a:cubicBezTo>
                      <a:cubicBezTo>
                        <a:pt x="259299" y="953059"/>
                        <a:pt x="259299" y="953059"/>
                        <a:pt x="262876" y="950913"/>
                      </a:cubicBezTo>
                      <a:close/>
                      <a:moveTo>
                        <a:pt x="626998" y="903288"/>
                      </a:moveTo>
                      <a:cubicBezTo>
                        <a:pt x="626998" y="903288"/>
                        <a:pt x="626998" y="903288"/>
                        <a:pt x="630581" y="903288"/>
                      </a:cubicBezTo>
                      <a:cubicBezTo>
                        <a:pt x="671428" y="904002"/>
                        <a:pt x="710125" y="906143"/>
                        <a:pt x="745956" y="910426"/>
                      </a:cubicBezTo>
                      <a:cubicBezTo>
                        <a:pt x="746673" y="921846"/>
                        <a:pt x="750972" y="933266"/>
                        <a:pt x="759572" y="941831"/>
                      </a:cubicBezTo>
                      <a:cubicBezTo>
                        <a:pt x="768171" y="951110"/>
                        <a:pt x="780354" y="956106"/>
                        <a:pt x="793253" y="956106"/>
                      </a:cubicBezTo>
                      <a:cubicBezTo>
                        <a:pt x="804002" y="956106"/>
                        <a:pt x="814034" y="952538"/>
                        <a:pt x="821917" y="946114"/>
                      </a:cubicBezTo>
                      <a:cubicBezTo>
                        <a:pt x="805435" y="964671"/>
                        <a:pt x="805435" y="992508"/>
                        <a:pt x="822634" y="1010352"/>
                      </a:cubicBezTo>
                      <a:cubicBezTo>
                        <a:pt x="824067" y="1011780"/>
                        <a:pt x="824784" y="1012493"/>
                        <a:pt x="825500" y="1013207"/>
                      </a:cubicBezTo>
                      <a:cubicBezTo>
                        <a:pt x="805435" y="1045326"/>
                        <a:pt x="783220" y="1073877"/>
                        <a:pt x="758855" y="1098145"/>
                      </a:cubicBezTo>
                      <a:cubicBezTo>
                        <a:pt x="717291" y="1139543"/>
                        <a:pt x="674295" y="1163097"/>
                        <a:pt x="644197" y="1175944"/>
                      </a:cubicBezTo>
                      <a:cubicBezTo>
                        <a:pt x="626998" y="1178086"/>
                        <a:pt x="611949" y="1179513"/>
                        <a:pt x="596900" y="1179513"/>
                      </a:cubicBezTo>
                      <a:cubicBezTo>
                        <a:pt x="596900" y="1179513"/>
                        <a:pt x="596900" y="1179513"/>
                        <a:pt x="596900" y="936121"/>
                      </a:cubicBezTo>
                      <a:cubicBezTo>
                        <a:pt x="596900" y="936121"/>
                        <a:pt x="596900" y="936121"/>
                        <a:pt x="599050" y="936121"/>
                      </a:cubicBezTo>
                      <a:cubicBezTo>
                        <a:pt x="614099" y="931125"/>
                        <a:pt x="624132" y="919705"/>
                        <a:pt x="626998" y="904716"/>
                      </a:cubicBezTo>
                      <a:cubicBezTo>
                        <a:pt x="626998" y="904716"/>
                        <a:pt x="626998" y="904716"/>
                        <a:pt x="626998" y="903288"/>
                      </a:cubicBezTo>
                      <a:close/>
                      <a:moveTo>
                        <a:pt x="543242" y="903288"/>
                      </a:moveTo>
                      <a:cubicBezTo>
                        <a:pt x="543242" y="903288"/>
                        <a:pt x="543242" y="903288"/>
                        <a:pt x="546114" y="903288"/>
                      </a:cubicBezTo>
                      <a:cubicBezTo>
                        <a:pt x="546114" y="903288"/>
                        <a:pt x="546114" y="903288"/>
                        <a:pt x="546114" y="904716"/>
                      </a:cubicBezTo>
                      <a:cubicBezTo>
                        <a:pt x="551138" y="919705"/>
                        <a:pt x="561188" y="931125"/>
                        <a:pt x="574827" y="936121"/>
                      </a:cubicBezTo>
                      <a:cubicBezTo>
                        <a:pt x="574827" y="936121"/>
                        <a:pt x="574827" y="936121"/>
                        <a:pt x="576262" y="936121"/>
                      </a:cubicBezTo>
                      <a:cubicBezTo>
                        <a:pt x="576262" y="936121"/>
                        <a:pt x="576262" y="936121"/>
                        <a:pt x="576262" y="1179513"/>
                      </a:cubicBezTo>
                      <a:cubicBezTo>
                        <a:pt x="563341" y="1178086"/>
                        <a:pt x="549703" y="1178086"/>
                        <a:pt x="536064" y="1175944"/>
                      </a:cubicBezTo>
                      <a:cubicBezTo>
                        <a:pt x="504480" y="1163097"/>
                        <a:pt x="464281" y="1139543"/>
                        <a:pt x="424083" y="1099572"/>
                      </a:cubicBezTo>
                      <a:cubicBezTo>
                        <a:pt x="387474" y="1063170"/>
                        <a:pt x="355890" y="1018203"/>
                        <a:pt x="330766" y="964671"/>
                      </a:cubicBezTo>
                      <a:cubicBezTo>
                        <a:pt x="330766" y="964671"/>
                        <a:pt x="330766" y="964671"/>
                        <a:pt x="328612" y="963244"/>
                      </a:cubicBezTo>
                      <a:cubicBezTo>
                        <a:pt x="328612" y="963244"/>
                        <a:pt x="328612" y="963244"/>
                        <a:pt x="330766" y="961103"/>
                      </a:cubicBezTo>
                      <a:cubicBezTo>
                        <a:pt x="337226" y="953251"/>
                        <a:pt x="340815" y="943259"/>
                        <a:pt x="340815" y="931125"/>
                      </a:cubicBezTo>
                      <a:cubicBezTo>
                        <a:pt x="340815" y="931125"/>
                        <a:pt x="340815" y="931125"/>
                        <a:pt x="340815" y="928270"/>
                      </a:cubicBezTo>
                      <a:cubicBezTo>
                        <a:pt x="340815" y="928270"/>
                        <a:pt x="340815" y="928270"/>
                        <a:pt x="343687" y="926128"/>
                      </a:cubicBezTo>
                      <a:cubicBezTo>
                        <a:pt x="402548" y="913281"/>
                        <a:pt x="469306" y="904716"/>
                        <a:pt x="543242" y="903288"/>
                      </a:cubicBezTo>
                      <a:close/>
                      <a:moveTo>
                        <a:pt x="988495" y="879475"/>
                      </a:moveTo>
                      <a:cubicBezTo>
                        <a:pt x="1007237" y="879475"/>
                        <a:pt x="1026700" y="881743"/>
                        <a:pt x="1046163" y="887035"/>
                      </a:cubicBezTo>
                      <a:cubicBezTo>
                        <a:pt x="1026700" y="882499"/>
                        <a:pt x="1007958" y="880231"/>
                        <a:pt x="988495" y="880231"/>
                      </a:cubicBezTo>
                      <a:cubicBezTo>
                        <a:pt x="965427" y="880231"/>
                        <a:pt x="943081" y="883255"/>
                        <a:pt x="920734" y="890058"/>
                      </a:cubicBezTo>
                      <a:cubicBezTo>
                        <a:pt x="914967" y="891570"/>
                        <a:pt x="909921" y="893838"/>
                        <a:pt x="904875" y="895350"/>
                      </a:cubicBezTo>
                      <a:cubicBezTo>
                        <a:pt x="910642" y="893838"/>
                        <a:pt x="916409" y="891570"/>
                        <a:pt x="922176" y="889303"/>
                      </a:cubicBezTo>
                      <a:cubicBezTo>
                        <a:pt x="944522" y="882499"/>
                        <a:pt x="966148" y="879475"/>
                        <a:pt x="988495" y="879475"/>
                      </a:cubicBezTo>
                      <a:close/>
                      <a:moveTo>
                        <a:pt x="975138" y="588963"/>
                      </a:moveTo>
                      <a:lnTo>
                        <a:pt x="1179513" y="588963"/>
                      </a:lnTo>
                      <a:cubicBezTo>
                        <a:pt x="1179513" y="588963"/>
                        <a:pt x="1179513" y="588963"/>
                        <a:pt x="1179513" y="590384"/>
                      </a:cubicBezTo>
                      <a:cubicBezTo>
                        <a:pt x="1179513" y="671376"/>
                        <a:pt x="1163135" y="748816"/>
                        <a:pt x="1133226" y="819151"/>
                      </a:cubicBezTo>
                      <a:cubicBezTo>
                        <a:pt x="1085515" y="796417"/>
                        <a:pt x="1037092" y="785049"/>
                        <a:pt x="987956" y="785049"/>
                      </a:cubicBezTo>
                      <a:cubicBezTo>
                        <a:pt x="968729" y="785049"/>
                        <a:pt x="949502" y="787181"/>
                        <a:pt x="930275" y="790733"/>
                      </a:cubicBezTo>
                      <a:cubicBezTo>
                        <a:pt x="940957" y="737449"/>
                        <a:pt x="946654" y="680612"/>
                        <a:pt x="948790" y="620223"/>
                      </a:cubicBezTo>
                      <a:cubicBezTo>
                        <a:pt x="948790" y="620223"/>
                        <a:pt x="948790" y="620223"/>
                        <a:pt x="948790" y="616671"/>
                      </a:cubicBezTo>
                      <a:cubicBezTo>
                        <a:pt x="948790" y="616671"/>
                        <a:pt x="948790" y="616671"/>
                        <a:pt x="950214" y="616671"/>
                      </a:cubicBezTo>
                      <a:cubicBezTo>
                        <a:pt x="962320" y="611698"/>
                        <a:pt x="970153" y="603883"/>
                        <a:pt x="973714" y="591805"/>
                      </a:cubicBezTo>
                      <a:cubicBezTo>
                        <a:pt x="973714" y="591805"/>
                        <a:pt x="973714" y="591805"/>
                        <a:pt x="975138" y="588963"/>
                      </a:cubicBezTo>
                      <a:close/>
                      <a:moveTo>
                        <a:pt x="626918" y="588963"/>
                      </a:moveTo>
                      <a:cubicBezTo>
                        <a:pt x="626918" y="588963"/>
                        <a:pt x="626918" y="588963"/>
                        <a:pt x="895653" y="588963"/>
                      </a:cubicBezTo>
                      <a:cubicBezTo>
                        <a:pt x="895653" y="588963"/>
                        <a:pt x="895653" y="588963"/>
                        <a:pt x="895653" y="591814"/>
                      </a:cubicBezTo>
                      <a:cubicBezTo>
                        <a:pt x="900656" y="605355"/>
                        <a:pt x="912091" y="615332"/>
                        <a:pt x="925671" y="618896"/>
                      </a:cubicBezTo>
                      <a:cubicBezTo>
                        <a:pt x="925671" y="618896"/>
                        <a:pt x="925671" y="618896"/>
                        <a:pt x="927100" y="618896"/>
                      </a:cubicBezTo>
                      <a:cubicBezTo>
                        <a:pt x="927100" y="618896"/>
                        <a:pt x="927100" y="618896"/>
                        <a:pt x="927100" y="621746"/>
                      </a:cubicBezTo>
                      <a:cubicBezTo>
                        <a:pt x="924956" y="684462"/>
                        <a:pt x="918524" y="742189"/>
                        <a:pt x="907803" y="795640"/>
                      </a:cubicBezTo>
                      <a:cubicBezTo>
                        <a:pt x="903515" y="797065"/>
                        <a:pt x="898511" y="798491"/>
                        <a:pt x="894223" y="799916"/>
                      </a:cubicBezTo>
                      <a:cubicBezTo>
                        <a:pt x="814175" y="823435"/>
                        <a:pt x="764859" y="870471"/>
                        <a:pt x="759856" y="875460"/>
                      </a:cubicBezTo>
                      <a:cubicBezTo>
                        <a:pt x="755568" y="879736"/>
                        <a:pt x="751994" y="884012"/>
                        <a:pt x="749850" y="889001"/>
                      </a:cubicBezTo>
                      <a:cubicBezTo>
                        <a:pt x="711970" y="884725"/>
                        <a:pt x="671231" y="882587"/>
                        <a:pt x="629063" y="881162"/>
                      </a:cubicBezTo>
                      <a:cubicBezTo>
                        <a:pt x="629063" y="881162"/>
                        <a:pt x="629063" y="881162"/>
                        <a:pt x="626918" y="881162"/>
                      </a:cubicBezTo>
                      <a:cubicBezTo>
                        <a:pt x="626918" y="881162"/>
                        <a:pt x="626918" y="881162"/>
                        <a:pt x="625489" y="878311"/>
                      </a:cubicBezTo>
                      <a:cubicBezTo>
                        <a:pt x="620486" y="866195"/>
                        <a:pt x="611909" y="856218"/>
                        <a:pt x="599044" y="853367"/>
                      </a:cubicBezTo>
                      <a:cubicBezTo>
                        <a:pt x="599044" y="853367"/>
                        <a:pt x="599044" y="853367"/>
                        <a:pt x="596900" y="851229"/>
                      </a:cubicBezTo>
                      <a:cubicBezTo>
                        <a:pt x="596900" y="851229"/>
                        <a:pt x="596900" y="851229"/>
                        <a:pt x="596900" y="618896"/>
                      </a:cubicBezTo>
                      <a:cubicBezTo>
                        <a:pt x="596900" y="618896"/>
                        <a:pt x="596900" y="618896"/>
                        <a:pt x="599044" y="616758"/>
                      </a:cubicBezTo>
                      <a:cubicBezTo>
                        <a:pt x="611909" y="613907"/>
                        <a:pt x="621915" y="603929"/>
                        <a:pt x="625489" y="591814"/>
                      </a:cubicBezTo>
                      <a:cubicBezTo>
                        <a:pt x="625489" y="591814"/>
                        <a:pt x="625489" y="591814"/>
                        <a:pt x="626918" y="588963"/>
                      </a:cubicBezTo>
                      <a:close/>
                      <a:moveTo>
                        <a:pt x="282272" y="588963"/>
                      </a:moveTo>
                      <a:cubicBezTo>
                        <a:pt x="282272" y="588963"/>
                        <a:pt x="282272" y="588963"/>
                        <a:pt x="548298" y="588963"/>
                      </a:cubicBezTo>
                      <a:cubicBezTo>
                        <a:pt x="548298" y="588963"/>
                        <a:pt x="548298" y="588963"/>
                        <a:pt x="548298" y="591817"/>
                      </a:cubicBezTo>
                      <a:cubicBezTo>
                        <a:pt x="553318" y="603946"/>
                        <a:pt x="563356" y="613935"/>
                        <a:pt x="574829" y="616789"/>
                      </a:cubicBezTo>
                      <a:cubicBezTo>
                        <a:pt x="574829" y="616789"/>
                        <a:pt x="574829" y="616789"/>
                        <a:pt x="576263" y="618929"/>
                      </a:cubicBezTo>
                      <a:cubicBezTo>
                        <a:pt x="576263" y="618929"/>
                        <a:pt x="576263" y="618929"/>
                        <a:pt x="576263" y="851525"/>
                      </a:cubicBezTo>
                      <a:cubicBezTo>
                        <a:pt x="576263" y="851525"/>
                        <a:pt x="576263" y="851525"/>
                        <a:pt x="574829" y="853665"/>
                      </a:cubicBezTo>
                      <a:cubicBezTo>
                        <a:pt x="563356" y="856519"/>
                        <a:pt x="553318" y="866508"/>
                        <a:pt x="548298" y="878637"/>
                      </a:cubicBezTo>
                      <a:cubicBezTo>
                        <a:pt x="548298" y="878637"/>
                        <a:pt x="548298" y="878637"/>
                        <a:pt x="548298" y="881491"/>
                      </a:cubicBezTo>
                      <a:cubicBezTo>
                        <a:pt x="548298" y="881491"/>
                        <a:pt x="548298" y="881491"/>
                        <a:pt x="544713" y="881491"/>
                      </a:cubicBezTo>
                      <a:cubicBezTo>
                        <a:pt x="467988" y="883632"/>
                        <a:pt x="397717" y="891480"/>
                        <a:pt x="336051" y="906463"/>
                      </a:cubicBezTo>
                      <a:cubicBezTo>
                        <a:pt x="336051" y="906463"/>
                        <a:pt x="336051" y="906463"/>
                        <a:pt x="333900" y="906463"/>
                      </a:cubicBezTo>
                      <a:cubicBezTo>
                        <a:pt x="333900" y="906463"/>
                        <a:pt x="333900" y="906463"/>
                        <a:pt x="332466" y="905036"/>
                      </a:cubicBezTo>
                      <a:cubicBezTo>
                        <a:pt x="326012" y="895047"/>
                        <a:pt x="313822" y="890053"/>
                        <a:pt x="302350" y="888626"/>
                      </a:cubicBezTo>
                      <a:cubicBezTo>
                        <a:pt x="302350" y="888626"/>
                        <a:pt x="302350" y="888626"/>
                        <a:pt x="300915" y="888626"/>
                      </a:cubicBezTo>
                      <a:cubicBezTo>
                        <a:pt x="300915" y="888626"/>
                        <a:pt x="300915" y="888626"/>
                        <a:pt x="298764" y="886486"/>
                      </a:cubicBezTo>
                      <a:cubicBezTo>
                        <a:pt x="273667" y="808716"/>
                        <a:pt x="260761" y="718817"/>
                        <a:pt x="257175" y="618929"/>
                      </a:cubicBezTo>
                      <a:cubicBezTo>
                        <a:pt x="257175" y="618929"/>
                        <a:pt x="257175" y="618929"/>
                        <a:pt x="257175" y="616789"/>
                      </a:cubicBezTo>
                      <a:cubicBezTo>
                        <a:pt x="257175" y="616789"/>
                        <a:pt x="257175" y="616789"/>
                        <a:pt x="258609" y="615362"/>
                      </a:cubicBezTo>
                      <a:cubicBezTo>
                        <a:pt x="270799" y="611795"/>
                        <a:pt x="277253" y="601806"/>
                        <a:pt x="282272" y="591817"/>
                      </a:cubicBezTo>
                      <a:cubicBezTo>
                        <a:pt x="282272" y="591817"/>
                        <a:pt x="282272" y="591817"/>
                        <a:pt x="282272" y="588963"/>
                      </a:cubicBezTo>
                      <a:close/>
                      <a:moveTo>
                        <a:pt x="0" y="588963"/>
                      </a:moveTo>
                      <a:cubicBezTo>
                        <a:pt x="0" y="588963"/>
                        <a:pt x="0" y="588963"/>
                        <a:pt x="202940" y="588963"/>
                      </a:cubicBezTo>
                      <a:cubicBezTo>
                        <a:pt x="202940" y="588963"/>
                        <a:pt x="202940" y="588963"/>
                        <a:pt x="205084" y="591813"/>
                      </a:cubicBezTo>
                      <a:cubicBezTo>
                        <a:pt x="210086" y="605351"/>
                        <a:pt x="221519" y="615326"/>
                        <a:pt x="235096" y="618889"/>
                      </a:cubicBezTo>
                      <a:cubicBezTo>
                        <a:pt x="235096" y="618889"/>
                        <a:pt x="235096" y="618889"/>
                        <a:pt x="237954" y="620314"/>
                      </a:cubicBezTo>
                      <a:cubicBezTo>
                        <a:pt x="237954" y="620314"/>
                        <a:pt x="237954" y="620314"/>
                        <a:pt x="237954" y="621739"/>
                      </a:cubicBezTo>
                      <a:cubicBezTo>
                        <a:pt x="241527" y="721492"/>
                        <a:pt x="254390" y="813408"/>
                        <a:pt x="279400" y="891073"/>
                      </a:cubicBezTo>
                      <a:cubicBezTo>
                        <a:pt x="279400" y="891073"/>
                        <a:pt x="279400" y="891073"/>
                        <a:pt x="279400" y="893210"/>
                      </a:cubicBezTo>
                      <a:cubicBezTo>
                        <a:pt x="279400" y="893210"/>
                        <a:pt x="279400" y="893210"/>
                        <a:pt x="277971" y="894635"/>
                      </a:cubicBezTo>
                      <a:cubicBezTo>
                        <a:pt x="266538" y="901048"/>
                        <a:pt x="259392" y="914586"/>
                        <a:pt x="257963" y="928124"/>
                      </a:cubicBezTo>
                      <a:cubicBezTo>
                        <a:pt x="257963" y="928124"/>
                        <a:pt x="257963" y="928124"/>
                        <a:pt x="257963" y="929549"/>
                      </a:cubicBezTo>
                      <a:cubicBezTo>
                        <a:pt x="257963" y="929549"/>
                        <a:pt x="257963" y="929549"/>
                        <a:pt x="256533" y="930974"/>
                      </a:cubicBezTo>
                      <a:cubicBezTo>
                        <a:pt x="206513" y="949499"/>
                        <a:pt x="172928" y="970875"/>
                        <a:pt x="155063" y="985838"/>
                      </a:cubicBezTo>
                      <a:cubicBezTo>
                        <a:pt x="58595" y="881097"/>
                        <a:pt x="0" y="743581"/>
                        <a:pt x="0" y="590388"/>
                      </a:cubicBezTo>
                      <a:cubicBezTo>
                        <a:pt x="0" y="588963"/>
                        <a:pt x="0" y="588963"/>
                        <a:pt x="0" y="588963"/>
                      </a:cubicBezTo>
                      <a:close/>
                      <a:moveTo>
                        <a:pt x="832043" y="258763"/>
                      </a:moveTo>
                      <a:cubicBezTo>
                        <a:pt x="832043" y="258763"/>
                        <a:pt x="832043" y="258763"/>
                        <a:pt x="833472" y="258763"/>
                      </a:cubicBezTo>
                      <a:cubicBezTo>
                        <a:pt x="833472" y="258763"/>
                        <a:pt x="833472" y="258763"/>
                        <a:pt x="835616" y="260192"/>
                      </a:cubicBezTo>
                      <a:cubicBezTo>
                        <a:pt x="845622" y="276627"/>
                        <a:pt x="862061" y="286631"/>
                        <a:pt x="882073" y="281629"/>
                      </a:cubicBezTo>
                      <a:cubicBezTo>
                        <a:pt x="882073" y="281629"/>
                        <a:pt x="882073" y="281629"/>
                        <a:pt x="885647" y="280200"/>
                      </a:cubicBezTo>
                      <a:cubicBezTo>
                        <a:pt x="885647" y="280200"/>
                        <a:pt x="885647" y="280200"/>
                        <a:pt x="885647" y="283773"/>
                      </a:cubicBezTo>
                      <a:cubicBezTo>
                        <a:pt x="910662" y="355229"/>
                        <a:pt x="923527" y="438832"/>
                        <a:pt x="927100" y="530296"/>
                      </a:cubicBezTo>
                      <a:cubicBezTo>
                        <a:pt x="927100" y="530296"/>
                        <a:pt x="927100" y="530296"/>
                        <a:pt x="927100" y="533868"/>
                      </a:cubicBezTo>
                      <a:cubicBezTo>
                        <a:pt x="927100" y="533868"/>
                        <a:pt x="927100" y="533868"/>
                        <a:pt x="925671" y="533868"/>
                      </a:cubicBezTo>
                      <a:cubicBezTo>
                        <a:pt x="910662" y="536727"/>
                        <a:pt x="898511" y="550303"/>
                        <a:pt x="893508" y="565309"/>
                      </a:cubicBezTo>
                      <a:cubicBezTo>
                        <a:pt x="893508" y="565309"/>
                        <a:pt x="893508" y="565309"/>
                        <a:pt x="893508" y="566738"/>
                      </a:cubicBezTo>
                      <a:cubicBezTo>
                        <a:pt x="893508" y="566738"/>
                        <a:pt x="893508" y="566738"/>
                        <a:pt x="626918" y="566738"/>
                      </a:cubicBezTo>
                      <a:cubicBezTo>
                        <a:pt x="626918" y="566738"/>
                        <a:pt x="626918" y="566738"/>
                        <a:pt x="626918" y="565309"/>
                      </a:cubicBezTo>
                      <a:cubicBezTo>
                        <a:pt x="624060" y="550303"/>
                        <a:pt x="611909" y="538870"/>
                        <a:pt x="599044" y="533868"/>
                      </a:cubicBezTo>
                      <a:cubicBezTo>
                        <a:pt x="599044" y="533868"/>
                        <a:pt x="599044" y="533868"/>
                        <a:pt x="596900" y="533868"/>
                      </a:cubicBezTo>
                      <a:cubicBezTo>
                        <a:pt x="596900" y="533868"/>
                        <a:pt x="596900" y="533868"/>
                        <a:pt x="596900" y="313784"/>
                      </a:cubicBezTo>
                      <a:cubicBezTo>
                        <a:pt x="596900" y="313784"/>
                        <a:pt x="596900" y="313784"/>
                        <a:pt x="599044" y="311641"/>
                      </a:cubicBezTo>
                      <a:cubicBezTo>
                        <a:pt x="611909" y="308782"/>
                        <a:pt x="624060" y="296635"/>
                        <a:pt x="626918" y="283773"/>
                      </a:cubicBezTo>
                      <a:cubicBezTo>
                        <a:pt x="626918" y="283773"/>
                        <a:pt x="626918" y="283773"/>
                        <a:pt x="626918" y="280200"/>
                      </a:cubicBezTo>
                      <a:cubicBezTo>
                        <a:pt x="626918" y="280200"/>
                        <a:pt x="626918" y="280200"/>
                        <a:pt x="630492" y="280200"/>
                      </a:cubicBezTo>
                      <a:cubicBezTo>
                        <a:pt x="704108" y="278771"/>
                        <a:pt x="772006" y="271625"/>
                        <a:pt x="832043" y="258763"/>
                      </a:cubicBezTo>
                      <a:close/>
                      <a:moveTo>
                        <a:pt x="336051" y="255588"/>
                      </a:moveTo>
                      <a:cubicBezTo>
                        <a:pt x="337485" y="255588"/>
                        <a:pt x="337485" y="255588"/>
                        <a:pt x="337485" y="255588"/>
                      </a:cubicBezTo>
                      <a:cubicBezTo>
                        <a:pt x="399151" y="269147"/>
                        <a:pt x="467988" y="279138"/>
                        <a:pt x="544713" y="280566"/>
                      </a:cubicBezTo>
                      <a:cubicBezTo>
                        <a:pt x="546147" y="280566"/>
                        <a:pt x="546147" y="280566"/>
                        <a:pt x="546147" y="280566"/>
                      </a:cubicBezTo>
                      <a:cubicBezTo>
                        <a:pt x="548298" y="281993"/>
                        <a:pt x="548298" y="281993"/>
                        <a:pt x="548298" y="281993"/>
                      </a:cubicBezTo>
                      <a:cubicBezTo>
                        <a:pt x="551166" y="296980"/>
                        <a:pt x="561205" y="309112"/>
                        <a:pt x="574829" y="311966"/>
                      </a:cubicBezTo>
                      <a:cubicBezTo>
                        <a:pt x="576263" y="314107"/>
                        <a:pt x="576263" y="314107"/>
                        <a:pt x="576263" y="314107"/>
                      </a:cubicBezTo>
                      <a:cubicBezTo>
                        <a:pt x="576263" y="533910"/>
                        <a:pt x="576263" y="533910"/>
                        <a:pt x="576263" y="533910"/>
                      </a:cubicBezTo>
                      <a:cubicBezTo>
                        <a:pt x="574829" y="533910"/>
                        <a:pt x="574829" y="533910"/>
                        <a:pt x="574829" y="533910"/>
                      </a:cubicBezTo>
                      <a:cubicBezTo>
                        <a:pt x="561205" y="538906"/>
                        <a:pt x="551166" y="550324"/>
                        <a:pt x="546147" y="565311"/>
                      </a:cubicBezTo>
                      <a:cubicBezTo>
                        <a:pt x="546147" y="566738"/>
                        <a:pt x="546147" y="566738"/>
                        <a:pt x="546147" y="566738"/>
                      </a:cubicBezTo>
                      <a:cubicBezTo>
                        <a:pt x="283706" y="566738"/>
                        <a:pt x="283706" y="566738"/>
                        <a:pt x="283706" y="566738"/>
                      </a:cubicBezTo>
                      <a:cubicBezTo>
                        <a:pt x="283706" y="565311"/>
                        <a:pt x="283706" y="565311"/>
                        <a:pt x="283706" y="565311"/>
                      </a:cubicBezTo>
                      <a:cubicBezTo>
                        <a:pt x="280838" y="551752"/>
                        <a:pt x="272233" y="541761"/>
                        <a:pt x="260761" y="536765"/>
                      </a:cubicBezTo>
                      <a:cubicBezTo>
                        <a:pt x="257175" y="535338"/>
                        <a:pt x="257175" y="535338"/>
                        <a:pt x="257175" y="535338"/>
                      </a:cubicBezTo>
                      <a:cubicBezTo>
                        <a:pt x="257175" y="533910"/>
                        <a:pt x="257175" y="533910"/>
                        <a:pt x="257175" y="533910"/>
                      </a:cubicBezTo>
                      <a:cubicBezTo>
                        <a:pt x="262195" y="436854"/>
                        <a:pt x="275819" y="351930"/>
                        <a:pt x="298764" y="279138"/>
                      </a:cubicBezTo>
                      <a:cubicBezTo>
                        <a:pt x="298764" y="276998"/>
                        <a:pt x="298764" y="276998"/>
                        <a:pt x="298764" y="276998"/>
                      </a:cubicBezTo>
                      <a:cubicBezTo>
                        <a:pt x="302350" y="276998"/>
                        <a:pt x="302350" y="276998"/>
                        <a:pt x="302350" y="276998"/>
                      </a:cubicBezTo>
                      <a:cubicBezTo>
                        <a:pt x="315973" y="275570"/>
                        <a:pt x="327446" y="269147"/>
                        <a:pt x="333900" y="257015"/>
                      </a:cubicBezTo>
                      <a:cubicBezTo>
                        <a:pt x="336051" y="255588"/>
                        <a:pt x="336051" y="255588"/>
                        <a:pt x="336051" y="255588"/>
                      </a:cubicBezTo>
                      <a:close/>
                      <a:moveTo>
                        <a:pt x="1019471" y="187325"/>
                      </a:moveTo>
                      <a:cubicBezTo>
                        <a:pt x="1112973" y="287171"/>
                        <a:pt x="1172929" y="420536"/>
                        <a:pt x="1177925" y="566738"/>
                      </a:cubicBezTo>
                      <a:cubicBezTo>
                        <a:pt x="1177925" y="566738"/>
                        <a:pt x="1177925" y="566738"/>
                        <a:pt x="974504" y="566738"/>
                      </a:cubicBezTo>
                      <a:cubicBezTo>
                        <a:pt x="974504" y="566738"/>
                        <a:pt x="974504" y="566738"/>
                        <a:pt x="974504" y="565312"/>
                      </a:cubicBezTo>
                      <a:cubicBezTo>
                        <a:pt x="971649" y="551761"/>
                        <a:pt x="961656" y="540350"/>
                        <a:pt x="949522" y="535358"/>
                      </a:cubicBezTo>
                      <a:cubicBezTo>
                        <a:pt x="949522" y="535358"/>
                        <a:pt x="949522" y="535358"/>
                        <a:pt x="948095" y="533932"/>
                      </a:cubicBezTo>
                      <a:cubicBezTo>
                        <a:pt x="948095" y="533932"/>
                        <a:pt x="948095" y="533932"/>
                        <a:pt x="948095" y="531792"/>
                      </a:cubicBezTo>
                      <a:cubicBezTo>
                        <a:pt x="943098" y="435513"/>
                        <a:pt x="928109" y="347078"/>
                        <a:pt x="903128" y="270767"/>
                      </a:cubicBezTo>
                      <a:cubicBezTo>
                        <a:pt x="903128" y="270767"/>
                        <a:pt x="903128" y="270767"/>
                        <a:pt x="901700" y="269341"/>
                      </a:cubicBezTo>
                      <a:cubicBezTo>
                        <a:pt x="901700" y="269341"/>
                        <a:pt x="901700" y="269341"/>
                        <a:pt x="903128" y="267202"/>
                      </a:cubicBezTo>
                      <a:cubicBezTo>
                        <a:pt x="910265" y="260783"/>
                        <a:pt x="913120" y="250798"/>
                        <a:pt x="913120" y="239387"/>
                      </a:cubicBezTo>
                      <a:cubicBezTo>
                        <a:pt x="913120" y="239387"/>
                        <a:pt x="913120" y="239387"/>
                        <a:pt x="913120" y="237248"/>
                      </a:cubicBezTo>
                      <a:cubicBezTo>
                        <a:pt x="913120" y="237248"/>
                        <a:pt x="913120" y="237248"/>
                        <a:pt x="916689" y="235821"/>
                      </a:cubicBezTo>
                      <a:cubicBezTo>
                        <a:pt x="964511" y="219418"/>
                        <a:pt x="998058" y="200875"/>
                        <a:pt x="1019471" y="187325"/>
                      </a:cubicBezTo>
                      <a:close/>
                      <a:moveTo>
                        <a:pt x="165132" y="180975"/>
                      </a:moveTo>
                      <a:cubicBezTo>
                        <a:pt x="182987" y="194573"/>
                        <a:pt x="212982" y="213181"/>
                        <a:pt x="256546" y="229643"/>
                      </a:cubicBezTo>
                      <a:cubicBezTo>
                        <a:pt x="256546" y="229643"/>
                        <a:pt x="256546" y="229643"/>
                        <a:pt x="257975" y="229643"/>
                      </a:cubicBezTo>
                      <a:cubicBezTo>
                        <a:pt x="257975" y="229643"/>
                        <a:pt x="257975" y="229643"/>
                        <a:pt x="257975" y="233221"/>
                      </a:cubicBezTo>
                      <a:cubicBezTo>
                        <a:pt x="257975" y="248251"/>
                        <a:pt x="266545" y="261134"/>
                        <a:pt x="277972" y="269722"/>
                      </a:cubicBezTo>
                      <a:cubicBezTo>
                        <a:pt x="277972" y="269722"/>
                        <a:pt x="277972" y="269722"/>
                        <a:pt x="279400" y="269722"/>
                      </a:cubicBezTo>
                      <a:cubicBezTo>
                        <a:pt x="279400" y="269722"/>
                        <a:pt x="279400" y="269722"/>
                        <a:pt x="279400" y="273301"/>
                      </a:cubicBezTo>
                      <a:cubicBezTo>
                        <a:pt x="256546" y="348449"/>
                        <a:pt x="241549" y="433618"/>
                        <a:pt x="237978" y="530237"/>
                      </a:cubicBezTo>
                      <a:cubicBezTo>
                        <a:pt x="237978" y="530237"/>
                        <a:pt x="237978" y="530237"/>
                        <a:pt x="237978" y="531669"/>
                      </a:cubicBezTo>
                      <a:cubicBezTo>
                        <a:pt x="237978" y="531669"/>
                        <a:pt x="237978" y="531669"/>
                        <a:pt x="235121" y="533816"/>
                      </a:cubicBezTo>
                      <a:cubicBezTo>
                        <a:pt x="220123" y="536679"/>
                        <a:pt x="206554" y="548846"/>
                        <a:pt x="202983" y="565307"/>
                      </a:cubicBezTo>
                      <a:cubicBezTo>
                        <a:pt x="202983" y="565307"/>
                        <a:pt x="202983" y="565307"/>
                        <a:pt x="201555" y="566738"/>
                      </a:cubicBezTo>
                      <a:cubicBezTo>
                        <a:pt x="201555" y="566738"/>
                        <a:pt x="201555" y="566738"/>
                        <a:pt x="1587" y="566738"/>
                      </a:cubicBezTo>
                      <a:cubicBezTo>
                        <a:pt x="6586" y="418588"/>
                        <a:pt x="68719" y="281173"/>
                        <a:pt x="165132" y="180975"/>
                      </a:cubicBezTo>
                      <a:close/>
                      <a:moveTo>
                        <a:pt x="458787" y="14288"/>
                      </a:moveTo>
                      <a:cubicBezTo>
                        <a:pt x="442352" y="25649"/>
                        <a:pt x="425202" y="37009"/>
                        <a:pt x="410911" y="51920"/>
                      </a:cubicBezTo>
                      <a:cubicBezTo>
                        <a:pt x="372323" y="88843"/>
                        <a:pt x="338738" y="133576"/>
                        <a:pt x="312299" y="188249"/>
                      </a:cubicBezTo>
                      <a:cubicBezTo>
                        <a:pt x="312299" y="188249"/>
                        <a:pt x="312299" y="188249"/>
                        <a:pt x="310870" y="189670"/>
                      </a:cubicBezTo>
                      <a:cubicBezTo>
                        <a:pt x="310870" y="189670"/>
                        <a:pt x="310870" y="189670"/>
                        <a:pt x="308726" y="189670"/>
                      </a:cubicBezTo>
                      <a:cubicBezTo>
                        <a:pt x="292291" y="184699"/>
                        <a:pt x="273712" y="193220"/>
                        <a:pt x="265851" y="206001"/>
                      </a:cubicBezTo>
                      <a:cubicBezTo>
                        <a:pt x="265851" y="206001"/>
                        <a:pt x="265851" y="206001"/>
                        <a:pt x="263707" y="209551"/>
                      </a:cubicBezTo>
                      <a:cubicBezTo>
                        <a:pt x="263707" y="209551"/>
                        <a:pt x="263707" y="209551"/>
                        <a:pt x="260849" y="208131"/>
                      </a:cubicBezTo>
                      <a:cubicBezTo>
                        <a:pt x="224405" y="193220"/>
                        <a:pt x="197251" y="178309"/>
                        <a:pt x="179387" y="164818"/>
                      </a:cubicBezTo>
                      <a:cubicBezTo>
                        <a:pt x="255847" y="91683"/>
                        <a:pt x="352315" y="39140"/>
                        <a:pt x="458787" y="14288"/>
                      </a:cubicBezTo>
                      <a:close/>
                      <a:moveTo>
                        <a:pt x="711200" y="11113"/>
                      </a:moveTo>
                      <a:cubicBezTo>
                        <a:pt x="823828" y="34825"/>
                        <a:pt x="925764" y="91591"/>
                        <a:pt x="1004888" y="170632"/>
                      </a:cubicBezTo>
                      <a:cubicBezTo>
                        <a:pt x="984929" y="184284"/>
                        <a:pt x="954990" y="200811"/>
                        <a:pt x="910794" y="215901"/>
                      </a:cubicBezTo>
                      <a:cubicBezTo>
                        <a:pt x="910794" y="215901"/>
                        <a:pt x="910794" y="215901"/>
                        <a:pt x="907230" y="215901"/>
                      </a:cubicBezTo>
                      <a:cubicBezTo>
                        <a:pt x="907230" y="215901"/>
                        <a:pt x="907230" y="215901"/>
                        <a:pt x="907230" y="214464"/>
                      </a:cubicBezTo>
                      <a:cubicBezTo>
                        <a:pt x="898676" y="202248"/>
                        <a:pt x="887270" y="195781"/>
                        <a:pt x="873727" y="195781"/>
                      </a:cubicBezTo>
                      <a:cubicBezTo>
                        <a:pt x="873727" y="195781"/>
                        <a:pt x="873727" y="195781"/>
                        <a:pt x="872301" y="195781"/>
                      </a:cubicBezTo>
                      <a:cubicBezTo>
                        <a:pt x="872301" y="195781"/>
                        <a:pt x="872301" y="195781"/>
                        <a:pt x="870875" y="194344"/>
                      </a:cubicBezTo>
                      <a:cubicBezTo>
                        <a:pt x="843788" y="139016"/>
                        <a:pt x="808859" y="93747"/>
                        <a:pt x="768940" y="56382"/>
                      </a:cubicBezTo>
                      <a:cubicBezTo>
                        <a:pt x="749693" y="38418"/>
                        <a:pt x="729734" y="23328"/>
                        <a:pt x="711200" y="11113"/>
                      </a:cubicBezTo>
                      <a:close/>
                      <a:moveTo>
                        <a:pt x="596900" y="0"/>
                      </a:moveTo>
                      <a:cubicBezTo>
                        <a:pt x="611935" y="0"/>
                        <a:pt x="626969" y="0"/>
                        <a:pt x="644152" y="1430"/>
                      </a:cubicBezTo>
                      <a:cubicBezTo>
                        <a:pt x="675653" y="13581"/>
                        <a:pt x="715745" y="35026"/>
                        <a:pt x="755837" y="73626"/>
                      </a:cubicBezTo>
                      <a:cubicBezTo>
                        <a:pt x="792350" y="106507"/>
                        <a:pt x="823851" y="148681"/>
                        <a:pt x="851056" y="198718"/>
                      </a:cubicBezTo>
                      <a:cubicBezTo>
                        <a:pt x="851056" y="198718"/>
                        <a:pt x="851056" y="198718"/>
                        <a:pt x="852488" y="200148"/>
                      </a:cubicBezTo>
                      <a:cubicBezTo>
                        <a:pt x="852488" y="200148"/>
                        <a:pt x="852488" y="200148"/>
                        <a:pt x="848909" y="203722"/>
                      </a:cubicBezTo>
                      <a:cubicBezTo>
                        <a:pt x="838886" y="210155"/>
                        <a:pt x="832442" y="221592"/>
                        <a:pt x="831010" y="233744"/>
                      </a:cubicBezTo>
                      <a:cubicBezTo>
                        <a:pt x="831010" y="233744"/>
                        <a:pt x="831010" y="233744"/>
                        <a:pt x="831010" y="236604"/>
                      </a:cubicBezTo>
                      <a:cubicBezTo>
                        <a:pt x="831010" y="236604"/>
                        <a:pt x="831010" y="236604"/>
                        <a:pt x="827431" y="236604"/>
                      </a:cubicBezTo>
                      <a:cubicBezTo>
                        <a:pt x="768724" y="250185"/>
                        <a:pt x="702142" y="256619"/>
                        <a:pt x="629117" y="258763"/>
                      </a:cubicBezTo>
                      <a:cubicBezTo>
                        <a:pt x="629117" y="258763"/>
                        <a:pt x="629117" y="258763"/>
                        <a:pt x="626969" y="258763"/>
                      </a:cubicBezTo>
                      <a:cubicBezTo>
                        <a:pt x="626969" y="258763"/>
                        <a:pt x="626969" y="258763"/>
                        <a:pt x="626969" y="256619"/>
                      </a:cubicBezTo>
                      <a:cubicBezTo>
                        <a:pt x="621958" y="243752"/>
                        <a:pt x="611935" y="233744"/>
                        <a:pt x="599048" y="228741"/>
                      </a:cubicBezTo>
                      <a:cubicBezTo>
                        <a:pt x="599048" y="228741"/>
                        <a:pt x="599048" y="228741"/>
                        <a:pt x="596900" y="228741"/>
                      </a:cubicBezTo>
                      <a:cubicBezTo>
                        <a:pt x="596900" y="228741"/>
                        <a:pt x="596900" y="228741"/>
                        <a:pt x="596900" y="0"/>
                      </a:cubicBezTo>
                      <a:close/>
                      <a:moveTo>
                        <a:pt x="576262" y="0"/>
                      </a:moveTo>
                      <a:cubicBezTo>
                        <a:pt x="576262" y="0"/>
                        <a:pt x="576262" y="0"/>
                        <a:pt x="576262" y="228741"/>
                      </a:cubicBezTo>
                      <a:cubicBezTo>
                        <a:pt x="576262" y="228741"/>
                        <a:pt x="576262" y="228741"/>
                        <a:pt x="574827" y="228741"/>
                      </a:cubicBezTo>
                      <a:cubicBezTo>
                        <a:pt x="563341" y="233744"/>
                        <a:pt x="553292" y="243752"/>
                        <a:pt x="548267" y="256619"/>
                      </a:cubicBezTo>
                      <a:cubicBezTo>
                        <a:pt x="548267" y="256619"/>
                        <a:pt x="548267" y="256619"/>
                        <a:pt x="546114" y="258763"/>
                      </a:cubicBezTo>
                      <a:cubicBezTo>
                        <a:pt x="546114" y="258763"/>
                        <a:pt x="546114" y="258763"/>
                        <a:pt x="544678" y="258763"/>
                      </a:cubicBezTo>
                      <a:cubicBezTo>
                        <a:pt x="470742" y="256619"/>
                        <a:pt x="402548" y="248755"/>
                        <a:pt x="343687" y="233744"/>
                      </a:cubicBezTo>
                      <a:cubicBezTo>
                        <a:pt x="343687" y="233744"/>
                        <a:pt x="343687" y="233744"/>
                        <a:pt x="342251" y="233744"/>
                      </a:cubicBezTo>
                      <a:cubicBezTo>
                        <a:pt x="342251" y="233744"/>
                        <a:pt x="342251" y="233744"/>
                        <a:pt x="340815" y="230170"/>
                      </a:cubicBezTo>
                      <a:cubicBezTo>
                        <a:pt x="340815" y="220163"/>
                        <a:pt x="337226" y="210155"/>
                        <a:pt x="330766" y="203722"/>
                      </a:cubicBezTo>
                      <a:cubicBezTo>
                        <a:pt x="330766" y="203722"/>
                        <a:pt x="330766" y="203722"/>
                        <a:pt x="328612" y="201578"/>
                      </a:cubicBezTo>
                      <a:cubicBezTo>
                        <a:pt x="328612" y="201578"/>
                        <a:pt x="328612" y="201578"/>
                        <a:pt x="330766" y="198718"/>
                      </a:cubicBezTo>
                      <a:cubicBezTo>
                        <a:pt x="355890" y="148681"/>
                        <a:pt x="386038" y="103648"/>
                        <a:pt x="422647" y="70052"/>
                      </a:cubicBezTo>
                      <a:cubicBezTo>
                        <a:pt x="459257" y="35026"/>
                        <a:pt x="495866" y="15011"/>
                        <a:pt x="526014" y="3574"/>
                      </a:cubicBezTo>
                      <a:cubicBezTo>
                        <a:pt x="543242" y="0"/>
                        <a:pt x="559752" y="0"/>
                        <a:pt x="576262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52" name="Freeform 13">
                  <a:extLst>
                    <a:ext uri="{FF2B5EF4-FFF2-40B4-BE49-F238E27FC236}">
                      <a16:creationId xmlns:a16="http://schemas.microsoft.com/office/drawing/2014/main" id="{B5B84F66-9289-E06A-7864-DC6A591816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34163" y="2776538"/>
                  <a:ext cx="1306513" cy="1304925"/>
                </a:xfrm>
                <a:custGeom>
                  <a:avLst/>
                  <a:gdLst>
                    <a:gd name="connsiteX0" fmla="*/ 1054100 w 1306513"/>
                    <a:gd name="connsiteY0" fmla="*/ 1155700 h 1304925"/>
                    <a:gd name="connsiteX1" fmla="*/ 1066367 w 1306513"/>
                    <a:gd name="connsiteY1" fmla="*/ 1157127 h 1304925"/>
                    <a:gd name="connsiteX2" fmla="*/ 1093787 w 1306513"/>
                    <a:gd name="connsiteY2" fmla="*/ 1194237 h 1304925"/>
                    <a:gd name="connsiteX3" fmla="*/ 1054100 w 1306513"/>
                    <a:gd name="connsiteY3" fmla="*/ 1233488 h 1304925"/>
                    <a:gd name="connsiteX4" fmla="*/ 1014412 w 1306513"/>
                    <a:gd name="connsiteY4" fmla="*/ 1194951 h 1304925"/>
                    <a:gd name="connsiteX5" fmla="*/ 1014412 w 1306513"/>
                    <a:gd name="connsiteY5" fmla="*/ 1194237 h 1304925"/>
                    <a:gd name="connsiteX6" fmla="*/ 1054100 w 1306513"/>
                    <a:gd name="connsiteY6" fmla="*/ 1155700 h 1304925"/>
                    <a:gd name="connsiteX7" fmla="*/ 1052675 w 1306513"/>
                    <a:gd name="connsiteY7" fmla="*/ 1065212 h 1304925"/>
                    <a:gd name="connsiteX8" fmla="*/ 1071200 w 1306513"/>
                    <a:gd name="connsiteY8" fmla="*/ 1066666 h 1304925"/>
                    <a:gd name="connsiteX9" fmla="*/ 1105400 w 1306513"/>
                    <a:gd name="connsiteY9" fmla="*/ 1077568 h 1304925"/>
                    <a:gd name="connsiteX10" fmla="*/ 1133187 w 1306513"/>
                    <a:gd name="connsiteY10" fmla="*/ 1094284 h 1304925"/>
                    <a:gd name="connsiteX11" fmla="*/ 1136750 w 1306513"/>
                    <a:gd name="connsiteY11" fmla="*/ 1097192 h 1304925"/>
                    <a:gd name="connsiteX12" fmla="*/ 1139600 w 1306513"/>
                    <a:gd name="connsiteY12" fmla="*/ 1119723 h 1304925"/>
                    <a:gd name="connsiteX13" fmla="*/ 1126775 w 1306513"/>
                    <a:gd name="connsiteY13" fmla="*/ 1125537 h 1304925"/>
                    <a:gd name="connsiteX14" fmla="*/ 1117512 w 1306513"/>
                    <a:gd name="connsiteY14" fmla="*/ 1122630 h 1304925"/>
                    <a:gd name="connsiteX15" fmla="*/ 1111100 w 1306513"/>
                    <a:gd name="connsiteY15" fmla="*/ 1117542 h 1304925"/>
                    <a:gd name="connsiteX16" fmla="*/ 1081175 w 1306513"/>
                    <a:gd name="connsiteY16" fmla="*/ 1101552 h 1304925"/>
                    <a:gd name="connsiteX17" fmla="*/ 1052675 w 1306513"/>
                    <a:gd name="connsiteY17" fmla="*/ 1096465 h 1304925"/>
                    <a:gd name="connsiteX18" fmla="*/ 1038425 w 1306513"/>
                    <a:gd name="connsiteY18" fmla="*/ 1097918 h 1304925"/>
                    <a:gd name="connsiteX19" fmla="*/ 992112 w 1306513"/>
                    <a:gd name="connsiteY19" fmla="*/ 1121176 h 1304925"/>
                    <a:gd name="connsiteX20" fmla="*/ 981425 w 1306513"/>
                    <a:gd name="connsiteY20" fmla="*/ 1125537 h 1304925"/>
                    <a:gd name="connsiteX21" fmla="*/ 970025 w 1306513"/>
                    <a:gd name="connsiteY21" fmla="*/ 1121176 h 1304925"/>
                    <a:gd name="connsiteX22" fmla="*/ 970025 w 1306513"/>
                    <a:gd name="connsiteY22" fmla="*/ 1098645 h 1304925"/>
                    <a:gd name="connsiteX23" fmla="*/ 1052675 w 1306513"/>
                    <a:gd name="connsiteY23" fmla="*/ 1065212 h 1304925"/>
                    <a:gd name="connsiteX24" fmla="*/ 1052397 w 1306513"/>
                    <a:gd name="connsiteY24" fmla="*/ 973137 h 1304925"/>
                    <a:gd name="connsiteX25" fmla="*/ 1135869 w 1306513"/>
                    <a:gd name="connsiteY25" fmla="*/ 990365 h 1304925"/>
                    <a:gd name="connsiteX26" fmla="*/ 1164407 w 1306513"/>
                    <a:gd name="connsiteY26" fmla="*/ 1004721 h 1304925"/>
                    <a:gd name="connsiteX27" fmla="*/ 1191518 w 1306513"/>
                    <a:gd name="connsiteY27" fmla="*/ 1021949 h 1304925"/>
                    <a:gd name="connsiteX28" fmla="*/ 1197939 w 1306513"/>
                    <a:gd name="connsiteY28" fmla="*/ 1026974 h 1304925"/>
                    <a:gd name="connsiteX29" fmla="*/ 1200793 w 1306513"/>
                    <a:gd name="connsiteY29" fmla="*/ 1049227 h 1304925"/>
                    <a:gd name="connsiteX30" fmla="*/ 1188664 w 1306513"/>
                    <a:gd name="connsiteY30" fmla="*/ 1055687 h 1304925"/>
                    <a:gd name="connsiteX31" fmla="*/ 1178676 w 1306513"/>
                    <a:gd name="connsiteY31" fmla="*/ 1052098 h 1304925"/>
                    <a:gd name="connsiteX32" fmla="*/ 1172968 w 1306513"/>
                    <a:gd name="connsiteY32" fmla="*/ 1047791 h 1304925"/>
                    <a:gd name="connsiteX33" fmla="*/ 1145858 w 1306513"/>
                    <a:gd name="connsiteY33" fmla="*/ 1030563 h 1304925"/>
                    <a:gd name="connsiteX34" fmla="*/ 1116607 w 1306513"/>
                    <a:gd name="connsiteY34" fmla="*/ 1016207 h 1304925"/>
                    <a:gd name="connsiteX35" fmla="*/ 1052397 w 1306513"/>
                    <a:gd name="connsiteY35" fmla="*/ 1004004 h 1304925"/>
                    <a:gd name="connsiteX36" fmla="*/ 1029567 w 1306513"/>
                    <a:gd name="connsiteY36" fmla="*/ 1005439 h 1304925"/>
                    <a:gd name="connsiteX37" fmla="*/ 993894 w 1306513"/>
                    <a:gd name="connsiteY37" fmla="*/ 1014771 h 1304925"/>
                    <a:gd name="connsiteX38" fmla="*/ 931112 w 1306513"/>
                    <a:gd name="connsiteY38" fmla="*/ 1051380 h 1304925"/>
                    <a:gd name="connsiteX39" fmla="*/ 925404 w 1306513"/>
                    <a:gd name="connsiteY39" fmla="*/ 1054969 h 1304925"/>
                    <a:gd name="connsiteX40" fmla="*/ 920410 w 1306513"/>
                    <a:gd name="connsiteY40" fmla="*/ 1055687 h 1304925"/>
                    <a:gd name="connsiteX41" fmla="*/ 908995 w 1306513"/>
                    <a:gd name="connsiteY41" fmla="*/ 1050662 h 1304925"/>
                    <a:gd name="connsiteX42" fmla="*/ 905428 w 1306513"/>
                    <a:gd name="connsiteY42" fmla="*/ 1044920 h 1304925"/>
                    <a:gd name="connsiteX43" fmla="*/ 909708 w 1306513"/>
                    <a:gd name="connsiteY43" fmla="*/ 1028410 h 1304925"/>
                    <a:gd name="connsiteX44" fmla="*/ 913989 w 1306513"/>
                    <a:gd name="connsiteY44" fmla="*/ 1024103 h 1304925"/>
                    <a:gd name="connsiteX45" fmla="*/ 980339 w 1306513"/>
                    <a:gd name="connsiteY45" fmla="*/ 986058 h 1304925"/>
                    <a:gd name="connsiteX46" fmla="*/ 993894 w 1306513"/>
                    <a:gd name="connsiteY46" fmla="*/ 981751 h 1304925"/>
                    <a:gd name="connsiteX47" fmla="*/ 1052397 w 1306513"/>
                    <a:gd name="connsiteY47" fmla="*/ 973137 h 1304925"/>
                    <a:gd name="connsiteX48" fmla="*/ 1051683 w 1306513"/>
                    <a:gd name="connsiteY48" fmla="*/ 879475 h 1304925"/>
                    <a:gd name="connsiteX49" fmla="*/ 1183672 w 1306513"/>
                    <a:gd name="connsiteY49" fmla="*/ 910468 h 1304925"/>
                    <a:gd name="connsiteX50" fmla="*/ 1211497 w 1306513"/>
                    <a:gd name="connsiteY50" fmla="*/ 924556 h 1304925"/>
                    <a:gd name="connsiteX51" fmla="*/ 1238608 w 1306513"/>
                    <a:gd name="connsiteY51" fmla="*/ 941462 h 1304925"/>
                    <a:gd name="connsiteX52" fmla="*/ 1261439 w 1306513"/>
                    <a:gd name="connsiteY52" fmla="*/ 958367 h 1304925"/>
                    <a:gd name="connsiteX53" fmla="*/ 1264293 w 1306513"/>
                    <a:gd name="connsiteY53" fmla="*/ 980203 h 1304925"/>
                    <a:gd name="connsiteX54" fmla="*/ 1252164 w 1306513"/>
                    <a:gd name="connsiteY54" fmla="*/ 985838 h 1304925"/>
                    <a:gd name="connsiteX55" fmla="*/ 1242176 w 1306513"/>
                    <a:gd name="connsiteY55" fmla="*/ 982316 h 1304925"/>
                    <a:gd name="connsiteX56" fmla="*/ 1224339 w 1306513"/>
                    <a:gd name="connsiteY56" fmla="*/ 968933 h 1304925"/>
                    <a:gd name="connsiteX57" fmla="*/ 1197228 w 1306513"/>
                    <a:gd name="connsiteY57" fmla="*/ 952027 h 1304925"/>
                    <a:gd name="connsiteX58" fmla="*/ 1169403 w 1306513"/>
                    <a:gd name="connsiteY58" fmla="*/ 937235 h 1304925"/>
                    <a:gd name="connsiteX59" fmla="*/ 1052397 w 1306513"/>
                    <a:gd name="connsiteY59" fmla="*/ 910468 h 1304925"/>
                    <a:gd name="connsiteX60" fmla="*/ 978197 w 1306513"/>
                    <a:gd name="connsiteY60" fmla="*/ 921034 h 1304925"/>
                    <a:gd name="connsiteX61" fmla="*/ 977484 w 1306513"/>
                    <a:gd name="connsiteY61" fmla="*/ 921034 h 1304925"/>
                    <a:gd name="connsiteX62" fmla="*/ 953940 w 1306513"/>
                    <a:gd name="connsiteY62" fmla="*/ 929487 h 1304925"/>
                    <a:gd name="connsiteX63" fmla="*/ 891156 w 1306513"/>
                    <a:gd name="connsiteY63" fmla="*/ 963298 h 1304925"/>
                    <a:gd name="connsiteX64" fmla="*/ 869039 w 1306513"/>
                    <a:gd name="connsiteY64" fmla="*/ 980203 h 1304925"/>
                    <a:gd name="connsiteX65" fmla="*/ 867612 w 1306513"/>
                    <a:gd name="connsiteY65" fmla="*/ 981612 h 1304925"/>
                    <a:gd name="connsiteX66" fmla="*/ 856910 w 1306513"/>
                    <a:gd name="connsiteY66" fmla="*/ 985838 h 1304925"/>
                    <a:gd name="connsiteX67" fmla="*/ 845495 w 1306513"/>
                    <a:gd name="connsiteY67" fmla="*/ 981612 h 1304925"/>
                    <a:gd name="connsiteX68" fmla="*/ 841928 w 1306513"/>
                    <a:gd name="connsiteY68" fmla="*/ 975977 h 1304925"/>
                    <a:gd name="connsiteX69" fmla="*/ 846208 w 1306513"/>
                    <a:gd name="connsiteY69" fmla="*/ 959071 h 1304925"/>
                    <a:gd name="connsiteX70" fmla="*/ 849776 w 1306513"/>
                    <a:gd name="connsiteY70" fmla="*/ 955549 h 1304925"/>
                    <a:gd name="connsiteX71" fmla="*/ 963928 w 1306513"/>
                    <a:gd name="connsiteY71" fmla="*/ 892859 h 1304925"/>
                    <a:gd name="connsiteX72" fmla="*/ 967496 w 1306513"/>
                    <a:gd name="connsiteY72" fmla="*/ 892154 h 1304925"/>
                    <a:gd name="connsiteX73" fmla="*/ 986759 w 1306513"/>
                    <a:gd name="connsiteY73" fmla="*/ 886519 h 1304925"/>
                    <a:gd name="connsiteX74" fmla="*/ 1051683 w 1306513"/>
                    <a:gd name="connsiteY74" fmla="*/ 879475 h 1304925"/>
                    <a:gd name="connsiteX75" fmla="*/ 653257 w 1306513"/>
                    <a:gd name="connsiteY75" fmla="*/ 0 h 1304925"/>
                    <a:gd name="connsiteX76" fmla="*/ 1114968 w 1306513"/>
                    <a:gd name="connsiteY76" fmla="*/ 191313 h 1304925"/>
                    <a:gd name="connsiteX77" fmla="*/ 1306513 w 1306513"/>
                    <a:gd name="connsiteY77" fmla="*/ 652463 h 1304925"/>
                    <a:gd name="connsiteX78" fmla="*/ 1252194 w 1306513"/>
                    <a:gd name="connsiteY78" fmla="*/ 913733 h 1304925"/>
                    <a:gd name="connsiteX79" fmla="*/ 1225035 w 1306513"/>
                    <a:gd name="connsiteY79" fmla="*/ 896601 h 1304925"/>
                    <a:gd name="connsiteX80" fmla="*/ 1275065 w 1306513"/>
                    <a:gd name="connsiteY80" fmla="*/ 652463 h 1304925"/>
                    <a:gd name="connsiteX81" fmla="*/ 653257 w 1306513"/>
                    <a:gd name="connsiteY81" fmla="*/ 31410 h 1304925"/>
                    <a:gd name="connsiteX82" fmla="*/ 31448 w 1306513"/>
                    <a:gd name="connsiteY82" fmla="*/ 652463 h 1304925"/>
                    <a:gd name="connsiteX83" fmla="*/ 653257 w 1306513"/>
                    <a:gd name="connsiteY83" fmla="*/ 1273516 h 1304925"/>
                    <a:gd name="connsiteX84" fmla="*/ 986317 w 1306513"/>
                    <a:gd name="connsiteY84" fmla="*/ 1177145 h 1304925"/>
                    <a:gd name="connsiteX85" fmla="*/ 983459 w 1306513"/>
                    <a:gd name="connsiteY85" fmla="*/ 1194992 h 1304925"/>
                    <a:gd name="connsiteX86" fmla="*/ 986317 w 1306513"/>
                    <a:gd name="connsiteY86" fmla="*/ 1214266 h 1304925"/>
                    <a:gd name="connsiteX87" fmla="*/ 653257 w 1306513"/>
                    <a:gd name="connsiteY87" fmla="*/ 1304925 h 1304925"/>
                    <a:gd name="connsiteX88" fmla="*/ 191546 w 1306513"/>
                    <a:gd name="connsiteY88" fmla="*/ 1113612 h 1304925"/>
                    <a:gd name="connsiteX89" fmla="*/ 0 w 1306513"/>
                    <a:gd name="connsiteY89" fmla="*/ 652463 h 1304925"/>
                    <a:gd name="connsiteX90" fmla="*/ 191546 w 1306513"/>
                    <a:gd name="connsiteY90" fmla="*/ 191313 h 1304925"/>
                    <a:gd name="connsiteX91" fmla="*/ 653257 w 1306513"/>
                    <a:gd name="connsiteY91" fmla="*/ 0 h 1304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</a:cxnLst>
                  <a:rect l="l" t="t" r="r" b="b"/>
                  <a:pathLst>
                    <a:path w="1306513" h="1304925">
                      <a:moveTo>
                        <a:pt x="1054100" y="1155700"/>
                      </a:moveTo>
                      <a:cubicBezTo>
                        <a:pt x="1058429" y="1155700"/>
                        <a:pt x="1062037" y="1156414"/>
                        <a:pt x="1066367" y="1157127"/>
                      </a:cubicBezTo>
                      <a:cubicBezTo>
                        <a:pt x="1082242" y="1162123"/>
                        <a:pt x="1093787" y="1177110"/>
                        <a:pt x="1093787" y="1194237"/>
                      </a:cubicBezTo>
                      <a:cubicBezTo>
                        <a:pt x="1093787" y="1216360"/>
                        <a:pt x="1075747" y="1233488"/>
                        <a:pt x="1054100" y="1233488"/>
                      </a:cubicBezTo>
                      <a:cubicBezTo>
                        <a:pt x="1032452" y="1233488"/>
                        <a:pt x="1015134" y="1216360"/>
                        <a:pt x="1014412" y="1194951"/>
                      </a:cubicBezTo>
                      <a:cubicBezTo>
                        <a:pt x="1014412" y="1194951"/>
                        <a:pt x="1014412" y="1194951"/>
                        <a:pt x="1014412" y="1194237"/>
                      </a:cubicBezTo>
                      <a:cubicBezTo>
                        <a:pt x="1014412" y="1172828"/>
                        <a:pt x="1032452" y="1155700"/>
                        <a:pt x="1054100" y="1155700"/>
                      </a:cubicBezTo>
                      <a:close/>
                      <a:moveTo>
                        <a:pt x="1052675" y="1065212"/>
                      </a:moveTo>
                      <a:cubicBezTo>
                        <a:pt x="1059087" y="1065212"/>
                        <a:pt x="1064787" y="1065212"/>
                        <a:pt x="1071200" y="1066666"/>
                      </a:cubicBezTo>
                      <a:cubicBezTo>
                        <a:pt x="1082600" y="1068119"/>
                        <a:pt x="1093287" y="1071753"/>
                        <a:pt x="1105400" y="1077568"/>
                      </a:cubicBezTo>
                      <a:cubicBezTo>
                        <a:pt x="1113950" y="1081202"/>
                        <a:pt x="1123212" y="1087016"/>
                        <a:pt x="1133187" y="1094284"/>
                      </a:cubicBezTo>
                      <a:cubicBezTo>
                        <a:pt x="1133900" y="1095011"/>
                        <a:pt x="1135325" y="1096465"/>
                        <a:pt x="1136750" y="1097192"/>
                      </a:cubicBezTo>
                      <a:cubicBezTo>
                        <a:pt x="1143162" y="1102279"/>
                        <a:pt x="1144587" y="1112455"/>
                        <a:pt x="1139600" y="1119723"/>
                      </a:cubicBezTo>
                      <a:cubicBezTo>
                        <a:pt x="1136037" y="1123357"/>
                        <a:pt x="1131762" y="1125537"/>
                        <a:pt x="1126775" y="1125537"/>
                      </a:cubicBezTo>
                      <a:cubicBezTo>
                        <a:pt x="1123212" y="1125537"/>
                        <a:pt x="1120362" y="1124810"/>
                        <a:pt x="1117512" y="1122630"/>
                      </a:cubicBezTo>
                      <a:cubicBezTo>
                        <a:pt x="1115375" y="1120449"/>
                        <a:pt x="1113237" y="1118996"/>
                        <a:pt x="1111100" y="1117542"/>
                      </a:cubicBezTo>
                      <a:cubicBezTo>
                        <a:pt x="1100412" y="1110274"/>
                        <a:pt x="1090437" y="1105187"/>
                        <a:pt x="1081175" y="1101552"/>
                      </a:cubicBezTo>
                      <a:cubicBezTo>
                        <a:pt x="1071200" y="1097918"/>
                        <a:pt x="1061225" y="1096465"/>
                        <a:pt x="1052675" y="1096465"/>
                      </a:cubicBezTo>
                      <a:cubicBezTo>
                        <a:pt x="1047687" y="1096465"/>
                        <a:pt x="1042700" y="1097192"/>
                        <a:pt x="1038425" y="1097918"/>
                      </a:cubicBezTo>
                      <a:cubicBezTo>
                        <a:pt x="1010637" y="1103006"/>
                        <a:pt x="993537" y="1119723"/>
                        <a:pt x="992112" y="1121176"/>
                      </a:cubicBezTo>
                      <a:cubicBezTo>
                        <a:pt x="989262" y="1124084"/>
                        <a:pt x="984987" y="1125537"/>
                        <a:pt x="981425" y="1125537"/>
                      </a:cubicBezTo>
                      <a:cubicBezTo>
                        <a:pt x="977150" y="1125537"/>
                        <a:pt x="972875" y="1124084"/>
                        <a:pt x="970025" y="1121176"/>
                      </a:cubicBezTo>
                      <a:cubicBezTo>
                        <a:pt x="963612" y="1114635"/>
                        <a:pt x="964325" y="1104460"/>
                        <a:pt x="970025" y="1098645"/>
                      </a:cubicBezTo>
                      <a:cubicBezTo>
                        <a:pt x="985700" y="1082655"/>
                        <a:pt x="1015625" y="1065212"/>
                        <a:pt x="1052675" y="1065212"/>
                      </a:cubicBezTo>
                      <a:close/>
                      <a:moveTo>
                        <a:pt x="1052397" y="973137"/>
                      </a:moveTo>
                      <a:cubicBezTo>
                        <a:pt x="1077367" y="973137"/>
                        <a:pt x="1105905" y="977444"/>
                        <a:pt x="1135869" y="990365"/>
                      </a:cubicBezTo>
                      <a:cubicBezTo>
                        <a:pt x="1145144" y="993954"/>
                        <a:pt x="1155132" y="998979"/>
                        <a:pt x="1164407" y="1004721"/>
                      </a:cubicBezTo>
                      <a:cubicBezTo>
                        <a:pt x="1172968" y="1009746"/>
                        <a:pt x="1182243" y="1015489"/>
                        <a:pt x="1191518" y="1021949"/>
                      </a:cubicBezTo>
                      <a:cubicBezTo>
                        <a:pt x="1193658" y="1023385"/>
                        <a:pt x="1195799" y="1025538"/>
                        <a:pt x="1197939" y="1026974"/>
                      </a:cubicBezTo>
                      <a:cubicBezTo>
                        <a:pt x="1205073" y="1032717"/>
                        <a:pt x="1206500" y="1042048"/>
                        <a:pt x="1200793" y="1049227"/>
                      </a:cubicBezTo>
                      <a:cubicBezTo>
                        <a:pt x="1197939" y="1053534"/>
                        <a:pt x="1192945" y="1055687"/>
                        <a:pt x="1188664" y="1055687"/>
                      </a:cubicBezTo>
                      <a:cubicBezTo>
                        <a:pt x="1185097" y="1055687"/>
                        <a:pt x="1181530" y="1054251"/>
                        <a:pt x="1178676" y="1052098"/>
                      </a:cubicBezTo>
                      <a:cubicBezTo>
                        <a:pt x="1176536" y="1050662"/>
                        <a:pt x="1175109" y="1049227"/>
                        <a:pt x="1172968" y="1047791"/>
                      </a:cubicBezTo>
                      <a:cubicBezTo>
                        <a:pt x="1163694" y="1040613"/>
                        <a:pt x="1154419" y="1034870"/>
                        <a:pt x="1145858" y="1030563"/>
                      </a:cubicBezTo>
                      <a:cubicBezTo>
                        <a:pt x="1135869" y="1024821"/>
                        <a:pt x="1125881" y="1019796"/>
                        <a:pt x="1116607" y="1016207"/>
                      </a:cubicBezTo>
                      <a:cubicBezTo>
                        <a:pt x="1093776" y="1007593"/>
                        <a:pt x="1071660" y="1004004"/>
                        <a:pt x="1052397" y="1004004"/>
                      </a:cubicBezTo>
                      <a:cubicBezTo>
                        <a:pt x="1044549" y="1004004"/>
                        <a:pt x="1036701" y="1004721"/>
                        <a:pt x="1029567" y="1005439"/>
                      </a:cubicBezTo>
                      <a:cubicBezTo>
                        <a:pt x="1016725" y="1007593"/>
                        <a:pt x="1004596" y="1010464"/>
                        <a:pt x="993894" y="1014771"/>
                      </a:cubicBezTo>
                      <a:cubicBezTo>
                        <a:pt x="956082" y="1027692"/>
                        <a:pt x="933252" y="1049227"/>
                        <a:pt x="931112" y="1051380"/>
                      </a:cubicBezTo>
                      <a:cubicBezTo>
                        <a:pt x="929685" y="1052816"/>
                        <a:pt x="927544" y="1054251"/>
                        <a:pt x="925404" y="1054969"/>
                      </a:cubicBezTo>
                      <a:cubicBezTo>
                        <a:pt x="923977" y="1054969"/>
                        <a:pt x="921837" y="1055687"/>
                        <a:pt x="920410" y="1055687"/>
                      </a:cubicBezTo>
                      <a:cubicBezTo>
                        <a:pt x="916129" y="1055687"/>
                        <a:pt x="911849" y="1053534"/>
                        <a:pt x="908995" y="1050662"/>
                      </a:cubicBezTo>
                      <a:cubicBezTo>
                        <a:pt x="907568" y="1049227"/>
                        <a:pt x="906141" y="1047073"/>
                        <a:pt x="905428" y="1044920"/>
                      </a:cubicBezTo>
                      <a:cubicBezTo>
                        <a:pt x="903287" y="1039177"/>
                        <a:pt x="904714" y="1032717"/>
                        <a:pt x="909708" y="1028410"/>
                      </a:cubicBezTo>
                      <a:cubicBezTo>
                        <a:pt x="909708" y="1028410"/>
                        <a:pt x="911135" y="1026256"/>
                        <a:pt x="913989" y="1024103"/>
                      </a:cubicBezTo>
                      <a:cubicBezTo>
                        <a:pt x="923264" y="1016207"/>
                        <a:pt x="946807" y="998261"/>
                        <a:pt x="980339" y="986058"/>
                      </a:cubicBezTo>
                      <a:cubicBezTo>
                        <a:pt x="984620" y="984622"/>
                        <a:pt x="989614" y="983187"/>
                        <a:pt x="993894" y="981751"/>
                      </a:cubicBezTo>
                      <a:cubicBezTo>
                        <a:pt x="1010304" y="976726"/>
                        <a:pt x="1030280" y="973137"/>
                        <a:pt x="1052397" y="973137"/>
                      </a:cubicBezTo>
                      <a:close/>
                      <a:moveTo>
                        <a:pt x="1051683" y="879475"/>
                      </a:moveTo>
                      <a:cubicBezTo>
                        <a:pt x="1090923" y="879475"/>
                        <a:pt x="1135871" y="887928"/>
                        <a:pt x="1183672" y="910468"/>
                      </a:cubicBezTo>
                      <a:cubicBezTo>
                        <a:pt x="1192947" y="914695"/>
                        <a:pt x="1202222" y="919625"/>
                        <a:pt x="1211497" y="924556"/>
                      </a:cubicBezTo>
                      <a:cubicBezTo>
                        <a:pt x="1220772" y="929487"/>
                        <a:pt x="1230047" y="935122"/>
                        <a:pt x="1238608" y="941462"/>
                      </a:cubicBezTo>
                      <a:cubicBezTo>
                        <a:pt x="1246456" y="947097"/>
                        <a:pt x="1254304" y="952027"/>
                        <a:pt x="1261439" y="958367"/>
                      </a:cubicBezTo>
                      <a:cubicBezTo>
                        <a:pt x="1268573" y="963298"/>
                        <a:pt x="1270000" y="973159"/>
                        <a:pt x="1264293" y="980203"/>
                      </a:cubicBezTo>
                      <a:cubicBezTo>
                        <a:pt x="1261439" y="983725"/>
                        <a:pt x="1256445" y="985838"/>
                        <a:pt x="1252164" y="985838"/>
                      </a:cubicBezTo>
                      <a:cubicBezTo>
                        <a:pt x="1248597" y="985838"/>
                        <a:pt x="1245029" y="985134"/>
                        <a:pt x="1242176" y="982316"/>
                      </a:cubicBezTo>
                      <a:cubicBezTo>
                        <a:pt x="1236468" y="978090"/>
                        <a:pt x="1230047" y="973159"/>
                        <a:pt x="1224339" y="968933"/>
                      </a:cubicBezTo>
                      <a:cubicBezTo>
                        <a:pt x="1215064" y="963298"/>
                        <a:pt x="1206503" y="957662"/>
                        <a:pt x="1197228" y="952027"/>
                      </a:cubicBezTo>
                      <a:cubicBezTo>
                        <a:pt x="1187953" y="947097"/>
                        <a:pt x="1178678" y="942166"/>
                        <a:pt x="1169403" y="937235"/>
                      </a:cubicBezTo>
                      <a:cubicBezTo>
                        <a:pt x="1130877" y="919625"/>
                        <a:pt x="1091637" y="910468"/>
                        <a:pt x="1052397" y="910468"/>
                      </a:cubicBezTo>
                      <a:cubicBezTo>
                        <a:pt x="1027426" y="910468"/>
                        <a:pt x="1002455" y="913990"/>
                        <a:pt x="978197" y="921034"/>
                      </a:cubicBezTo>
                      <a:cubicBezTo>
                        <a:pt x="978197" y="921034"/>
                        <a:pt x="978197" y="921034"/>
                        <a:pt x="977484" y="921034"/>
                      </a:cubicBezTo>
                      <a:cubicBezTo>
                        <a:pt x="969636" y="923852"/>
                        <a:pt x="961074" y="926669"/>
                        <a:pt x="953940" y="929487"/>
                      </a:cubicBezTo>
                      <a:cubicBezTo>
                        <a:pt x="927542" y="940053"/>
                        <a:pt x="906139" y="952732"/>
                        <a:pt x="891156" y="963298"/>
                      </a:cubicBezTo>
                      <a:cubicBezTo>
                        <a:pt x="879741" y="971046"/>
                        <a:pt x="872606" y="977385"/>
                        <a:pt x="869039" y="980203"/>
                      </a:cubicBezTo>
                      <a:cubicBezTo>
                        <a:pt x="868325" y="980907"/>
                        <a:pt x="867612" y="981612"/>
                        <a:pt x="867612" y="981612"/>
                      </a:cubicBezTo>
                      <a:cubicBezTo>
                        <a:pt x="864758" y="984429"/>
                        <a:pt x="861191" y="985838"/>
                        <a:pt x="856910" y="985838"/>
                      </a:cubicBezTo>
                      <a:cubicBezTo>
                        <a:pt x="852629" y="985838"/>
                        <a:pt x="849062" y="984429"/>
                        <a:pt x="845495" y="981612"/>
                      </a:cubicBezTo>
                      <a:cubicBezTo>
                        <a:pt x="844068" y="979499"/>
                        <a:pt x="843355" y="978090"/>
                        <a:pt x="841928" y="975977"/>
                      </a:cubicBezTo>
                      <a:cubicBezTo>
                        <a:pt x="839787" y="970342"/>
                        <a:pt x="841214" y="964002"/>
                        <a:pt x="846208" y="959071"/>
                      </a:cubicBezTo>
                      <a:cubicBezTo>
                        <a:pt x="846208" y="959071"/>
                        <a:pt x="847635" y="957662"/>
                        <a:pt x="849776" y="955549"/>
                      </a:cubicBezTo>
                      <a:cubicBezTo>
                        <a:pt x="862618" y="944279"/>
                        <a:pt x="903285" y="911877"/>
                        <a:pt x="963928" y="892859"/>
                      </a:cubicBezTo>
                      <a:cubicBezTo>
                        <a:pt x="965355" y="892859"/>
                        <a:pt x="966069" y="892154"/>
                        <a:pt x="967496" y="892154"/>
                      </a:cubicBezTo>
                      <a:cubicBezTo>
                        <a:pt x="973917" y="890041"/>
                        <a:pt x="980338" y="888632"/>
                        <a:pt x="986759" y="886519"/>
                      </a:cubicBezTo>
                      <a:cubicBezTo>
                        <a:pt x="1006022" y="882293"/>
                        <a:pt x="1028139" y="879475"/>
                        <a:pt x="1051683" y="879475"/>
                      </a:cubicBezTo>
                      <a:close/>
                      <a:moveTo>
                        <a:pt x="653257" y="0"/>
                      </a:moveTo>
                      <a:cubicBezTo>
                        <a:pt x="827649" y="0"/>
                        <a:pt x="992035" y="67816"/>
                        <a:pt x="1114968" y="191313"/>
                      </a:cubicBezTo>
                      <a:cubicBezTo>
                        <a:pt x="1238615" y="314096"/>
                        <a:pt x="1306513" y="478282"/>
                        <a:pt x="1306513" y="652463"/>
                      </a:cubicBezTo>
                      <a:cubicBezTo>
                        <a:pt x="1306513" y="743836"/>
                        <a:pt x="1287930" y="832354"/>
                        <a:pt x="1252194" y="913733"/>
                      </a:cubicBezTo>
                      <a:cubicBezTo>
                        <a:pt x="1242903" y="907309"/>
                        <a:pt x="1234326" y="901598"/>
                        <a:pt x="1225035" y="896601"/>
                      </a:cubicBezTo>
                      <a:cubicBezTo>
                        <a:pt x="1257197" y="821646"/>
                        <a:pt x="1275065" y="738839"/>
                        <a:pt x="1275065" y="652463"/>
                      </a:cubicBezTo>
                      <a:cubicBezTo>
                        <a:pt x="1275065" y="309813"/>
                        <a:pt x="996324" y="31410"/>
                        <a:pt x="653257" y="31410"/>
                      </a:cubicBezTo>
                      <a:cubicBezTo>
                        <a:pt x="310190" y="31410"/>
                        <a:pt x="31448" y="309813"/>
                        <a:pt x="31448" y="652463"/>
                      </a:cubicBezTo>
                      <a:cubicBezTo>
                        <a:pt x="31448" y="995113"/>
                        <a:pt x="310190" y="1273516"/>
                        <a:pt x="653257" y="1273516"/>
                      </a:cubicBezTo>
                      <a:cubicBezTo>
                        <a:pt x="775474" y="1273516"/>
                        <a:pt x="889830" y="1237823"/>
                        <a:pt x="986317" y="1177145"/>
                      </a:cubicBezTo>
                      <a:cubicBezTo>
                        <a:pt x="984173" y="1182856"/>
                        <a:pt x="983459" y="1189281"/>
                        <a:pt x="983459" y="1194992"/>
                      </a:cubicBezTo>
                      <a:cubicBezTo>
                        <a:pt x="983459" y="1202130"/>
                        <a:pt x="984173" y="1207841"/>
                        <a:pt x="986317" y="1214266"/>
                      </a:cubicBezTo>
                      <a:cubicBezTo>
                        <a:pt x="886256" y="1273516"/>
                        <a:pt x="772615" y="1304925"/>
                        <a:pt x="653257" y="1304925"/>
                      </a:cubicBezTo>
                      <a:cubicBezTo>
                        <a:pt x="478864" y="1304925"/>
                        <a:pt x="314478" y="1237109"/>
                        <a:pt x="191546" y="1113612"/>
                      </a:cubicBezTo>
                      <a:cubicBezTo>
                        <a:pt x="67899" y="990829"/>
                        <a:pt x="0" y="826643"/>
                        <a:pt x="0" y="652463"/>
                      </a:cubicBezTo>
                      <a:cubicBezTo>
                        <a:pt x="0" y="478282"/>
                        <a:pt x="67899" y="314096"/>
                        <a:pt x="191546" y="191313"/>
                      </a:cubicBezTo>
                      <a:cubicBezTo>
                        <a:pt x="314478" y="67816"/>
                        <a:pt x="478864" y="0"/>
                        <a:pt x="653257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graphicFrame>
        <p:nvGraphicFramePr>
          <p:cNvPr id="54" name="think-cell data - do not delete" hidden="1">
            <a:extLst>
              <a:ext uri="{FF2B5EF4-FFF2-40B4-BE49-F238E27FC236}">
                <a16:creationId xmlns:a16="http://schemas.microsoft.com/office/drawing/2014/main" id="{798D19A0-0C6C-D4D8-5085-60BFD06EFC13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03993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9" imgH="396" progId="TCLayout.ActiveDocument.1">
                  <p:embed/>
                </p:oleObj>
              </mc:Choice>
              <mc:Fallback>
                <p:oleObj name="think-cell Slide" r:id="rId15" imgW="389" imgH="396" progId="TCLayout.ActiveDocument.1">
                  <p:embed/>
                  <p:pic>
                    <p:nvPicPr>
                      <p:cNvPr id="5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8D19A0-0C6C-D4D8-5085-60BFD06EF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ee4pFootnotes">
            <a:extLst>
              <a:ext uri="{FF2B5EF4-FFF2-40B4-BE49-F238E27FC236}">
                <a16:creationId xmlns:a16="http://schemas.microsoft.com/office/drawing/2014/main" id="{122FBACB-B20A-A512-3ADA-A5260E598B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7841" y="6282941"/>
            <a:ext cx="7184158" cy="2769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1. With the exception of "donut" </a:t>
            </a:r>
            <a:r>
              <a:rPr lang="en-US" sz="1000" dirty="0" err="1">
                <a:solidFill>
                  <a:schemeClr val="bg1">
                    <a:lumMod val="50000"/>
                  </a:schemeClr>
                </a:solidFill>
              </a:rPr>
              <a:t>CBGs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, where bidders must bid for both the outer and inner </a:t>
            </a:r>
            <a:r>
              <a:rPr lang="en-US" sz="1000" dirty="0" err="1">
                <a:solidFill>
                  <a:schemeClr val="bg1">
                    <a:lumMod val="50000"/>
                  </a:schemeClr>
                </a:solidFill>
              </a:rPr>
              <a:t>CBGs</a:t>
            </a:r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 together in the case where one sits inside the other </a:t>
            </a:r>
          </a:p>
        </p:txBody>
      </p:sp>
      <p:graphicFrame>
        <p:nvGraphicFramePr>
          <p:cNvPr id="56" name="think-cell data - do not delete" hidden="1">
            <a:extLst>
              <a:ext uri="{FF2B5EF4-FFF2-40B4-BE49-F238E27FC236}">
                <a16:creationId xmlns:a16="http://schemas.microsoft.com/office/drawing/2014/main" id="{74B4505F-A94D-701C-6E9C-B673DD665C08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4703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89" imgH="396" progId="TCLayout.ActiveDocument.1">
                  <p:embed/>
                </p:oleObj>
              </mc:Choice>
              <mc:Fallback>
                <p:oleObj name="think-cell Slide" r:id="rId15" imgW="389" imgH="396" progId="TCLayout.ActiveDocument.1">
                  <p:embed/>
                  <p:pic>
                    <p:nvPicPr>
                      <p:cNvPr id="5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B4505F-A94D-701C-6E9C-B673DD665C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224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0A2502A-0879-9B0C-5745-D07892A5E5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765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A2502A-0879-9B0C-5745-D07892A5E5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nip Single Corner Rectangle 20">
            <a:extLst>
              <a:ext uri="{FF2B5EF4-FFF2-40B4-BE49-F238E27FC236}">
                <a16:creationId xmlns:a16="http://schemas.microsoft.com/office/drawing/2014/main" id="{0AD3A10D-E2FB-44ED-B17E-23A42C8A6287}"/>
              </a:ext>
            </a:extLst>
          </p:cNvPr>
          <p:cNvSpPr/>
          <p:nvPr/>
        </p:nvSpPr>
        <p:spPr>
          <a:xfrm>
            <a:off x="641683" y="1544551"/>
            <a:ext cx="2370975" cy="450538"/>
          </a:xfrm>
          <a:prstGeom prst="snip1Rect">
            <a:avLst>
              <a:gd name="adj" fmla="val 22967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Snip Single Corner Rectangle 20">
            <a:extLst>
              <a:ext uri="{FF2B5EF4-FFF2-40B4-BE49-F238E27FC236}">
                <a16:creationId xmlns:a16="http://schemas.microsoft.com/office/drawing/2014/main" id="{E668CC6E-5D2A-4F47-99D1-F7AE789A9623}"/>
              </a:ext>
            </a:extLst>
          </p:cNvPr>
          <p:cNvSpPr/>
          <p:nvPr/>
        </p:nvSpPr>
        <p:spPr>
          <a:xfrm>
            <a:off x="3051297" y="1544551"/>
            <a:ext cx="4216117" cy="450538"/>
          </a:xfrm>
          <a:prstGeom prst="snip1Rect">
            <a:avLst>
              <a:gd name="adj" fmla="val 22967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Snip Single Corner Rectangle 20">
            <a:extLst>
              <a:ext uri="{FF2B5EF4-FFF2-40B4-BE49-F238E27FC236}">
                <a16:creationId xmlns:a16="http://schemas.microsoft.com/office/drawing/2014/main" id="{67805CCE-BA06-48C9-8351-DDB1741A1556}"/>
              </a:ext>
            </a:extLst>
          </p:cNvPr>
          <p:cNvSpPr/>
          <p:nvPr/>
        </p:nvSpPr>
        <p:spPr>
          <a:xfrm>
            <a:off x="7320126" y="1544551"/>
            <a:ext cx="4216117" cy="450538"/>
          </a:xfrm>
          <a:prstGeom prst="snip1Rect">
            <a:avLst>
              <a:gd name="adj" fmla="val 22967"/>
            </a:avLst>
          </a:prstGeo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DA7A44-4C3A-3BF9-0A4C-C1FA7ADC45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</a:rPr>
              <a:t>Tranche-3 |</a:t>
            </a:r>
            <a:r>
              <a:rPr lang="en-US" dirty="0"/>
              <a:t> Key differences between Tranche-2 and Tranche-3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6896A1B-421B-DC6E-3D8E-F65CF488BE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1719308"/>
              </p:ext>
            </p:extLst>
          </p:nvPr>
        </p:nvGraphicFramePr>
        <p:xfrm>
          <a:off x="629400" y="1623459"/>
          <a:ext cx="10933199" cy="498056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395541">
                  <a:extLst>
                    <a:ext uri="{9D8B030D-6E8A-4147-A177-3AD203B41FA5}">
                      <a16:colId xmlns:a16="http://schemas.microsoft.com/office/drawing/2014/main" val="1709380809"/>
                    </a:ext>
                  </a:extLst>
                </a:gridCol>
                <a:gridCol w="4268829">
                  <a:extLst>
                    <a:ext uri="{9D8B030D-6E8A-4147-A177-3AD203B41FA5}">
                      <a16:colId xmlns:a16="http://schemas.microsoft.com/office/drawing/2014/main" val="1922319488"/>
                    </a:ext>
                  </a:extLst>
                </a:gridCol>
                <a:gridCol w="4268829">
                  <a:extLst>
                    <a:ext uri="{9D8B030D-6E8A-4147-A177-3AD203B41FA5}">
                      <a16:colId xmlns:a16="http://schemas.microsoft.com/office/drawing/2014/main" val="1359328826"/>
                    </a:ext>
                  </a:extLst>
                </a:gridCol>
              </a:tblGrid>
              <a:tr h="290221"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Key difference</a:t>
                      </a:r>
                    </a:p>
                  </a:txBody>
                  <a:tcPr marL="109728" marR="45720" anchor="ctr"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ranche-2</a:t>
                      </a:r>
                    </a:p>
                  </a:txBody>
                  <a:tcPr marL="109728" marR="4572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ranche-3</a:t>
                      </a:r>
                    </a:p>
                  </a:txBody>
                  <a:tcPr marL="109728" marR="45720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2455372"/>
                  </a:ext>
                </a:extLst>
              </a:tr>
              <a:tr h="576851"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ticipation</a:t>
                      </a:r>
                    </a:p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strictions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BE9F9"/>
                    </a:solidFill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pplicants must have submitted a bid in Tranche-1 to participate in Tranche-2</a:t>
                      </a:r>
                    </a:p>
                  </a:txBody>
                  <a:tcPr marL="45720" marR="45720" marT="0" marB="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pplicants must be successfully pre-registered to participate in Tranche-3</a:t>
                      </a:r>
                    </a:p>
                  </a:txBody>
                  <a:tcPr marL="45720" marR="4572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5056403"/>
                  </a:ext>
                </a:extLst>
              </a:tr>
              <a:tr h="576851"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id types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BE9F9"/>
                    </a:solidFill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rried Forward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ew</a:t>
                      </a:r>
                    </a:p>
                  </a:txBody>
                  <a:tcPr marL="45720" marR="45720" marT="0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ew</a:t>
                      </a:r>
                    </a:p>
                  </a:txBody>
                  <a:tcPr marL="45720" marR="4572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7594408"/>
                  </a:ext>
                </a:extLst>
              </a:tr>
              <a:tr h="576851"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id outcomes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BE9F9"/>
                    </a:solidFill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liminarily Selected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tial Award Eligible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t Selected</a:t>
                      </a:r>
                    </a:p>
                  </a:txBody>
                  <a:tcPr marL="45720" marR="45720" marT="0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liminarily Selected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t Selected</a:t>
                      </a:r>
                    </a:p>
                  </a:txBody>
                  <a:tcPr marL="45720" marR="4572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5061000"/>
                  </a:ext>
                </a:extLst>
              </a:tr>
              <a:tr h="576851"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ject area </a:t>
                      </a:r>
                    </a:p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strictions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BE9F9"/>
                    </a:solidFill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nrestricted project area size</a:t>
                      </a:r>
                    </a:p>
                  </a:txBody>
                  <a:tcPr marL="45720" marR="45720" marT="0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ject area size of 1 </a:t>
                      </a:r>
                      <a:r>
                        <a:rPr lang="en-US" sz="12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BG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56520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ith the exception of "donut" </a:t>
                      </a:r>
                      <a:r>
                        <a:rPr lang="en-US" sz="1200" b="0" i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BGs</a:t>
                      </a:r>
                      <a:endParaRPr lang="en-US" sz="1200" b="0" i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3550972"/>
                  </a:ext>
                </a:extLst>
              </a:tr>
              <a:tr h="576851"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quested Subsidy considerations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BE9F9"/>
                    </a:solidFill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quest below twice the Reference Price to be considered for selection</a:t>
                      </a:r>
                    </a:p>
                  </a:txBody>
                  <a:tcPr marL="45720" marR="45720" marT="0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ere are no subsidy thresholds in Tranche-3</a:t>
                      </a:r>
                    </a:p>
                    <a:p>
                      <a:pPr marL="56520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2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ubsidy request is still the largest portion of a bid's score</a:t>
                      </a:r>
                    </a:p>
                  </a:txBody>
                  <a:tcPr marL="45720" marR="4572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375751"/>
                  </a:ext>
                </a:extLst>
              </a:tr>
              <a:tr h="576851"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chnology </a:t>
                      </a:r>
                    </a:p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nsiderations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BE9F9"/>
                    </a:solidFill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iority bids and nonpriority bids are considered for selection, but bids with alternative technology are not</a:t>
                      </a:r>
                    </a:p>
                  </a:txBody>
                  <a:tcPr marL="45720" marR="45720" marT="0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ll technology types are eligible for selection </a:t>
                      </a:r>
                    </a:p>
                  </a:txBody>
                  <a:tcPr marL="45720" marR="4572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6681844"/>
                  </a:ext>
                </a:extLst>
              </a:tr>
              <a:tr h="576851"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oints available in </a:t>
                      </a:r>
                    </a:p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coring Rubric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BE9F9"/>
                    </a:solidFill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 points available</a:t>
                      </a:r>
                    </a:p>
                    <a:p>
                      <a:pPr marL="43200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Trebuchet MS" panose="020B0603020202020204" pitchFamily="34" charset="0"/>
                        <a:buNone/>
                      </a:pPr>
                      <a:r>
                        <a:rPr lang="en-US" sz="105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ame 95 pts from Tranche-1, +5 pts available for Zero-Bid </a:t>
                      </a:r>
                      <a:r>
                        <a:rPr lang="en-US" sz="1050" b="0" i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BG</a:t>
                      </a:r>
                      <a:r>
                        <a:rPr lang="en-US" sz="105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included in project area</a:t>
                      </a:r>
                    </a:p>
                  </a:txBody>
                  <a:tcPr marL="45720" marR="45720" marT="0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5 points available </a:t>
                      </a:r>
                    </a:p>
                    <a:p>
                      <a:pPr marL="56520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05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ero bid </a:t>
                      </a:r>
                      <a:r>
                        <a:rPr lang="en-US" sz="1050" b="0" i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BG</a:t>
                      </a:r>
                      <a:r>
                        <a:rPr lang="en-US" sz="105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istinction is no longer relevant and will not be scored</a:t>
                      </a:r>
                    </a:p>
                  </a:txBody>
                  <a:tcPr marL="45720" marR="4572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7336751"/>
                  </a:ext>
                </a:extLst>
              </a:tr>
              <a:tr h="576851">
                <a:tc>
                  <a:txBody>
                    <a:bodyPr/>
                    <a:lstStyle/>
                    <a:p>
                      <a:pPr marL="0" indent="0" algn="ctr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pplication window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9F9"/>
                    </a:solidFill>
                  </a:tcPr>
                </a:tc>
                <a:tc>
                  <a:txBody>
                    <a:bodyPr/>
                    <a:lstStyle/>
                    <a:p>
                      <a:pPr marL="283500" marR="0" lvl="1" indent="-189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A5BA7"/>
                        </a:buClr>
                        <a:buSzTx/>
                        <a:buFont typeface="Trebuchet MS" panose="020B0603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wo-week application window</a:t>
                      </a:r>
                    </a:p>
                  </a:txBody>
                  <a:tcPr marL="45720" marR="45720" marT="0" marB="0"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3500" marR="0" lvl="1" indent="-189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A5BA7"/>
                        </a:buClr>
                        <a:buSzTx/>
                        <a:buFont typeface="Trebuchet MS" panose="020B0603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-to-7-day application window</a:t>
                      </a:r>
                    </a:p>
                  </a:txBody>
                  <a:tcPr marL="45720" marR="45720" marT="0" marB="0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7850452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D951BE6E-7A6D-4FE5-AA8A-99D51495838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rot="10800000" flipV="1">
            <a:off x="2886392" y="1610110"/>
            <a:ext cx="126730" cy="499391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34A8275-16FE-44F9-AF2E-4BEA567F512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rot="10800000" flipV="1">
            <a:off x="7159242" y="1740212"/>
            <a:ext cx="123428" cy="4863816"/>
          </a:xfrm>
          <a:prstGeom prst="rect">
            <a:avLst/>
          </a:prstGeom>
        </p:spPr>
      </p:pic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67D34BE9-AF40-8365-43B0-A9B7AC2D22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7234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89" imgH="396" progId="TCLayout.ActiveDocument.1">
                  <p:embed/>
                </p:oleObj>
              </mc:Choice>
              <mc:Fallback>
                <p:oleObj name="think-cell Slide" r:id="rId8" imgW="389" imgH="39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D34BE9-AF40-8365-43B0-A9B7AC2D22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2199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7CE4E3-B01A-7B11-46EC-442A76C001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242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7CE4E3-B01A-7B11-46EC-442A76C001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3F0A7EE-1539-7B70-26B4-6A23F4F72BCA}"/>
              </a:ext>
            </a:extLst>
          </p:cNvPr>
          <p:cNvSpPr/>
          <p:nvPr/>
        </p:nvSpPr>
        <p:spPr>
          <a:xfrm>
            <a:off x="630000" y="2650496"/>
            <a:ext cx="10933350" cy="3584704"/>
          </a:xfrm>
          <a:prstGeom prst="roundRect">
            <a:avLst>
              <a:gd name="adj" fmla="val 990"/>
            </a:avLst>
          </a:prstGeom>
          <a:noFill/>
          <a:ln w="63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7FDE06-AAEB-1E3C-0201-432E72A2EC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</a:rPr>
              <a:t>Tranche-3 |</a:t>
            </a:r>
            <a:r>
              <a:rPr lang="en-US" dirty="0"/>
              <a:t> Tranche-3 deconfliction scenarios and adjudication results</a:t>
            </a:r>
            <a:endParaRPr lang="en-US" dirty="0">
              <a:latin typeface="+mj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7B0E4F4-ED6D-E9E9-7AE3-ABD571F88961}"/>
              </a:ext>
            </a:extLst>
          </p:cNvPr>
          <p:cNvSpPr txBox="1"/>
          <p:nvPr/>
        </p:nvSpPr>
        <p:spPr>
          <a:xfrm>
            <a:off x="7928897" y="2387714"/>
            <a:ext cx="3358017" cy="619125"/>
          </a:xfrm>
          <a:prstGeom prst="round2SameRect">
            <a:avLst>
              <a:gd name="adj1" fmla="val 1173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cenario 3: Alt tech only</a:t>
            </a: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8489B4CF-A3BC-BA95-E7FF-B48C2884BB0B}"/>
              </a:ext>
            </a:extLst>
          </p:cNvPr>
          <p:cNvSpPr/>
          <p:nvPr/>
        </p:nvSpPr>
        <p:spPr>
          <a:xfrm rot="10800000">
            <a:off x="711628" y="2650494"/>
            <a:ext cx="67470" cy="356343"/>
          </a:xfrm>
          <a:prstGeom prst="triangle">
            <a:avLst>
              <a:gd name="adj" fmla="val 0"/>
            </a:avLst>
          </a:prstGeom>
          <a:solidFill>
            <a:schemeClr val="tx2">
              <a:lumMod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76D5C58-9168-1DB2-FF8E-D6030111BF28}"/>
              </a:ext>
            </a:extLst>
          </p:cNvPr>
          <p:cNvSpPr txBox="1"/>
          <p:nvPr/>
        </p:nvSpPr>
        <p:spPr>
          <a:xfrm>
            <a:off x="4353998" y="2387714"/>
            <a:ext cx="3358017" cy="619125"/>
          </a:xfrm>
          <a:prstGeom prst="round2SameRect">
            <a:avLst>
              <a:gd name="adj1" fmla="val 1173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cenario 2: Non-Priority and Alt tech</a:t>
            </a:r>
          </a:p>
        </p:txBody>
      </p:sp>
      <p:cxnSp>
        <p:nvCxnSpPr>
          <p:cNvPr id="456" name="Straight Connector 455">
            <a:extLst>
              <a:ext uri="{FF2B5EF4-FFF2-40B4-BE49-F238E27FC236}">
                <a16:creationId xmlns:a16="http://schemas.microsoft.com/office/drawing/2014/main" id="{880F9C0F-5BC5-0A3F-5819-B9AD64D95855}"/>
              </a:ext>
            </a:extLst>
          </p:cNvPr>
          <p:cNvCxnSpPr/>
          <p:nvPr/>
        </p:nvCxnSpPr>
        <p:spPr>
          <a:xfrm>
            <a:off x="7867376" y="2849570"/>
            <a:ext cx="0" cy="3385631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2" name="Straight Connector 431">
            <a:extLst>
              <a:ext uri="{FF2B5EF4-FFF2-40B4-BE49-F238E27FC236}">
                <a16:creationId xmlns:a16="http://schemas.microsoft.com/office/drawing/2014/main" id="{AA1CA305-F1A3-0C79-819E-4B750177B324}"/>
              </a:ext>
            </a:extLst>
          </p:cNvPr>
          <p:cNvCxnSpPr>
            <a:cxnSpLocks/>
          </p:cNvCxnSpPr>
          <p:nvPr/>
        </p:nvCxnSpPr>
        <p:spPr>
          <a:xfrm>
            <a:off x="796607" y="6127681"/>
            <a:ext cx="3323001" cy="0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Straight Connector 437">
            <a:extLst>
              <a:ext uri="{FF2B5EF4-FFF2-40B4-BE49-F238E27FC236}">
                <a16:creationId xmlns:a16="http://schemas.microsoft.com/office/drawing/2014/main" id="{8CB4B87B-ECF0-9123-B032-422915C6FE92}"/>
              </a:ext>
            </a:extLst>
          </p:cNvPr>
          <p:cNvCxnSpPr>
            <a:cxnSpLocks/>
          </p:cNvCxnSpPr>
          <p:nvPr/>
        </p:nvCxnSpPr>
        <p:spPr>
          <a:xfrm>
            <a:off x="7939279" y="6127681"/>
            <a:ext cx="3532059" cy="0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0DB034E-BAD7-310C-4F9C-9533F92200AD}"/>
              </a:ext>
            </a:extLst>
          </p:cNvPr>
          <p:cNvCxnSpPr/>
          <p:nvPr/>
        </p:nvCxnSpPr>
        <p:spPr>
          <a:xfrm>
            <a:off x="4191511" y="2849570"/>
            <a:ext cx="0" cy="3385631"/>
          </a:xfrm>
          <a:prstGeom prst="line">
            <a:avLst/>
          </a:prstGeom>
          <a:ln w="6350" cap="rnd">
            <a:solidFill>
              <a:schemeClr val="bg1">
                <a:lumMod val="8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C1AB02F9-2975-72BB-34CA-93AA1E5F712F}"/>
              </a:ext>
            </a:extLst>
          </p:cNvPr>
          <p:cNvSpPr txBox="1"/>
          <p:nvPr/>
        </p:nvSpPr>
        <p:spPr>
          <a:xfrm>
            <a:off x="779099" y="2387713"/>
            <a:ext cx="3358017" cy="619125"/>
          </a:xfrm>
          <a:prstGeom prst="round2SameRect">
            <a:avLst>
              <a:gd name="adj1" fmla="val 1173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>
            <a:defPPr>
              <a:defRPr lang="en-US"/>
            </a:defPPr>
            <a:lvl1pPr algn="ctr">
              <a:lnSpc>
                <a:spcPct val="95000"/>
              </a:lnSpc>
              <a:defRPr kern="0">
                <a:solidFill>
                  <a:schemeClr val="bg1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cenario 1: All tech types</a:t>
            </a:r>
          </a:p>
        </p:txBody>
      </p:sp>
      <p:sp>
        <p:nvSpPr>
          <p:cNvPr id="51" name="Isosceles Triangle 50">
            <a:extLst>
              <a:ext uri="{FF2B5EF4-FFF2-40B4-BE49-F238E27FC236}">
                <a16:creationId xmlns:a16="http://schemas.microsoft.com/office/drawing/2014/main" id="{BCC5792C-9D3E-F361-5460-33C912CD55A8}"/>
              </a:ext>
            </a:extLst>
          </p:cNvPr>
          <p:cNvSpPr/>
          <p:nvPr/>
        </p:nvSpPr>
        <p:spPr>
          <a:xfrm rot="10800000">
            <a:off x="4285915" y="2650494"/>
            <a:ext cx="67470" cy="356343"/>
          </a:xfrm>
          <a:prstGeom prst="triangle">
            <a:avLst>
              <a:gd name="adj" fmla="val 0"/>
            </a:avLst>
          </a:prstGeom>
          <a:solidFill>
            <a:schemeClr val="tx2">
              <a:lumMod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Isosceles Triangle 51">
            <a:extLst>
              <a:ext uri="{FF2B5EF4-FFF2-40B4-BE49-F238E27FC236}">
                <a16:creationId xmlns:a16="http://schemas.microsoft.com/office/drawing/2014/main" id="{2E8AB650-95E5-3362-8B64-BAF105EB2081}"/>
              </a:ext>
            </a:extLst>
          </p:cNvPr>
          <p:cNvSpPr/>
          <p:nvPr/>
        </p:nvSpPr>
        <p:spPr>
          <a:xfrm rot="10800000">
            <a:off x="7868926" y="2650494"/>
            <a:ext cx="67470" cy="356343"/>
          </a:xfrm>
          <a:prstGeom prst="triangle">
            <a:avLst>
              <a:gd name="adj" fmla="val 0"/>
            </a:avLst>
          </a:prstGeom>
          <a:solidFill>
            <a:schemeClr val="tx2">
              <a:lumMod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1AEE82F-9323-79CA-68DB-28481A6EF7C2}"/>
              </a:ext>
            </a:extLst>
          </p:cNvPr>
          <p:cNvCxnSpPr>
            <a:cxnSpLocks/>
          </p:cNvCxnSpPr>
          <p:nvPr/>
        </p:nvCxnSpPr>
        <p:spPr>
          <a:xfrm>
            <a:off x="4263414" y="6127681"/>
            <a:ext cx="3532059" cy="0"/>
          </a:xfrm>
          <a:prstGeom prst="line">
            <a:avLst/>
          </a:prstGeom>
          <a:ln w="28575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8D43CB2C-9CF0-B43D-AE4C-E7A3C77C5032}"/>
              </a:ext>
            </a:extLst>
          </p:cNvPr>
          <p:cNvSpPr txBox="1"/>
          <p:nvPr/>
        </p:nvSpPr>
        <p:spPr>
          <a:xfrm>
            <a:off x="630000" y="1327098"/>
            <a:ext cx="10933350" cy="63094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en-US" sz="1600" b="1" dirty="0">
                <a:solidFill>
                  <a:schemeClr val="tx2"/>
                </a:solidFill>
              </a:rPr>
              <a:t>Tranche-3 rules of adjudication</a:t>
            </a:r>
          </a:p>
          <a:p>
            <a:pPr marL="324000" lvl="1" indent="-216000"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</a:rPr>
              <a:t>Rule #1: </a:t>
            </a:r>
            <a:r>
              <a:rPr lang="en-US" sz="1400" dirty="0">
                <a:solidFill>
                  <a:schemeClr val="tx1"/>
                </a:solidFill>
              </a:rPr>
              <a:t>Preliminary selections will be the </a:t>
            </a:r>
            <a:r>
              <a:rPr lang="en-US" sz="1400" b="1" dirty="0">
                <a:solidFill>
                  <a:schemeClr val="tx1"/>
                </a:solidFill>
              </a:rPr>
              <a:t>highest score </a:t>
            </a:r>
            <a:r>
              <a:rPr lang="en-US" sz="1400" dirty="0">
                <a:solidFill>
                  <a:schemeClr val="tx1"/>
                </a:solidFill>
              </a:rPr>
              <a:t>of the </a:t>
            </a:r>
            <a:r>
              <a:rPr lang="en-US" sz="1400" b="1" dirty="0">
                <a:solidFill>
                  <a:schemeClr val="tx1"/>
                </a:solidFill>
              </a:rPr>
              <a:t>highest technology type </a:t>
            </a:r>
            <a:r>
              <a:rPr lang="en-US" sz="1400" dirty="0">
                <a:solidFill>
                  <a:schemeClr val="tx1"/>
                </a:solidFill>
              </a:rPr>
              <a:t>or are the sole bidder on their project area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C6A470FB-6621-212B-5AFD-D6E97B7DE5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1115213"/>
              </p:ext>
            </p:extLst>
          </p:nvPr>
        </p:nvGraphicFramePr>
        <p:xfrm>
          <a:off x="779099" y="3112345"/>
          <a:ext cx="3358017" cy="2907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9339">
                  <a:extLst>
                    <a:ext uri="{9D8B030D-6E8A-4147-A177-3AD203B41FA5}">
                      <a16:colId xmlns:a16="http://schemas.microsoft.com/office/drawing/2014/main" val="1296621699"/>
                    </a:ext>
                  </a:extLst>
                </a:gridCol>
                <a:gridCol w="1119339">
                  <a:extLst>
                    <a:ext uri="{9D8B030D-6E8A-4147-A177-3AD203B41FA5}">
                      <a16:colId xmlns:a16="http://schemas.microsoft.com/office/drawing/2014/main" val="3683216651"/>
                    </a:ext>
                  </a:extLst>
                </a:gridCol>
                <a:gridCol w="1119339">
                  <a:extLst>
                    <a:ext uri="{9D8B030D-6E8A-4147-A177-3AD203B41FA5}">
                      <a16:colId xmlns:a16="http://schemas.microsoft.com/office/drawing/2014/main" val="3853661544"/>
                    </a:ext>
                  </a:extLst>
                </a:gridCol>
              </a:tblGrid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Bid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Tech typ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Scor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8383735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iority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0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445476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riority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60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118035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n-Priority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0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6109200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Non-Priority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0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797697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E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lternative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5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1709105"/>
                  </a:ext>
                </a:extLst>
              </a:tr>
            </a:tbl>
          </a:graphicData>
        </a:graphic>
      </p:graphicFrame>
      <p:graphicFrame>
        <p:nvGraphicFramePr>
          <p:cNvPr id="29" name="Table 28">
            <a:extLst>
              <a:ext uri="{FF2B5EF4-FFF2-40B4-BE49-F238E27FC236}">
                <a16:creationId xmlns:a16="http://schemas.microsoft.com/office/drawing/2014/main" id="{45676265-834E-D05B-56E8-0281CD9DBE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0835845"/>
              </p:ext>
            </p:extLst>
          </p:nvPr>
        </p:nvGraphicFramePr>
        <p:xfrm>
          <a:off x="4353998" y="3112345"/>
          <a:ext cx="3358017" cy="2907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9339">
                  <a:extLst>
                    <a:ext uri="{9D8B030D-6E8A-4147-A177-3AD203B41FA5}">
                      <a16:colId xmlns:a16="http://schemas.microsoft.com/office/drawing/2014/main" val="1296621699"/>
                    </a:ext>
                  </a:extLst>
                </a:gridCol>
                <a:gridCol w="1119339">
                  <a:extLst>
                    <a:ext uri="{9D8B030D-6E8A-4147-A177-3AD203B41FA5}">
                      <a16:colId xmlns:a16="http://schemas.microsoft.com/office/drawing/2014/main" val="3683216651"/>
                    </a:ext>
                  </a:extLst>
                </a:gridCol>
                <a:gridCol w="1119339">
                  <a:extLst>
                    <a:ext uri="{9D8B030D-6E8A-4147-A177-3AD203B41FA5}">
                      <a16:colId xmlns:a16="http://schemas.microsoft.com/office/drawing/2014/main" val="3853661544"/>
                    </a:ext>
                  </a:extLst>
                </a:gridCol>
              </a:tblGrid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Bid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Tech typ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Scor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8383735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n-Priority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0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445476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n-Priority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0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118035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n-Priority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60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6109200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lternative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5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797697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E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lternative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0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1709105"/>
                  </a:ext>
                </a:extLst>
              </a:tr>
            </a:tbl>
          </a:graphicData>
        </a:graphic>
      </p:graphicFrame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39A4B5B9-BEF3-E006-7C2F-1376162AFE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5323860"/>
              </p:ext>
            </p:extLst>
          </p:nvPr>
        </p:nvGraphicFramePr>
        <p:xfrm>
          <a:off x="7928897" y="3112345"/>
          <a:ext cx="3358017" cy="2907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9339">
                  <a:extLst>
                    <a:ext uri="{9D8B030D-6E8A-4147-A177-3AD203B41FA5}">
                      <a16:colId xmlns:a16="http://schemas.microsoft.com/office/drawing/2014/main" val="1296621699"/>
                    </a:ext>
                  </a:extLst>
                </a:gridCol>
                <a:gridCol w="1119339">
                  <a:extLst>
                    <a:ext uri="{9D8B030D-6E8A-4147-A177-3AD203B41FA5}">
                      <a16:colId xmlns:a16="http://schemas.microsoft.com/office/drawing/2014/main" val="3683216651"/>
                    </a:ext>
                  </a:extLst>
                </a:gridCol>
                <a:gridCol w="1119339">
                  <a:extLst>
                    <a:ext uri="{9D8B030D-6E8A-4147-A177-3AD203B41FA5}">
                      <a16:colId xmlns:a16="http://schemas.microsoft.com/office/drawing/2014/main" val="3853661544"/>
                    </a:ext>
                  </a:extLst>
                </a:gridCol>
              </a:tblGrid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Bid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Tech typ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Score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8383735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lternative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80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2445476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B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lternative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9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118035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lternative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75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6109200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lternative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60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797697"/>
                  </a:ext>
                </a:extLst>
              </a:tr>
              <a:tr h="48463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E</a:t>
                      </a:r>
                    </a:p>
                  </a:txBody>
                  <a:tcPr anchor="ctr"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lternative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55</a:t>
                      </a:r>
                    </a:p>
                  </a:txBody>
                  <a:tcPr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1709105"/>
                  </a:ext>
                </a:extLst>
              </a:tr>
            </a:tbl>
          </a:graphicData>
        </a:graphic>
      </p:graphicFrame>
      <p:sp>
        <p:nvSpPr>
          <p:cNvPr id="37" name="Rectangle 36">
            <a:extLst>
              <a:ext uri="{FF2B5EF4-FFF2-40B4-BE49-F238E27FC236}">
                <a16:creationId xmlns:a16="http://schemas.microsoft.com/office/drawing/2014/main" id="{72A46CF8-6D4A-52D3-6915-47E6907BB91F}"/>
              </a:ext>
            </a:extLst>
          </p:cNvPr>
          <p:cNvSpPr/>
          <p:nvPr/>
        </p:nvSpPr>
        <p:spPr>
          <a:xfrm>
            <a:off x="630000" y="6361636"/>
            <a:ext cx="1940454" cy="205143"/>
          </a:xfrm>
          <a:prstGeom prst="rect">
            <a:avLst/>
          </a:prstGeom>
          <a:solidFill>
            <a:srgbClr val="92D050"/>
          </a:solidFill>
          <a:ln w="9525" cap="rnd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reliminarily Selected bid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929394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qEZ7KgOk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R Connect Grid 16:9 - 22209">
  <a:themeElements>
    <a:clrScheme name="Grid">
      <a:dk1>
        <a:srgbClr val="020101"/>
      </a:dk1>
      <a:lt1>
        <a:sysClr val="window" lastClr="FFFFFF"/>
      </a:lt1>
      <a:dk2>
        <a:srgbClr val="1A5BA7"/>
      </a:dk2>
      <a:lt2>
        <a:srgbClr val="F2F2F2"/>
      </a:lt2>
      <a:accent1>
        <a:srgbClr val="0D2E53"/>
      </a:accent1>
      <a:accent2>
        <a:srgbClr val="13447D"/>
      </a:accent2>
      <a:accent3>
        <a:srgbClr val="FFD400"/>
      </a:accent3>
      <a:accent4>
        <a:srgbClr val="5A9AE5"/>
      </a:accent4>
      <a:accent5>
        <a:srgbClr val="7C8082"/>
      </a:accent5>
      <a:accent6>
        <a:srgbClr val="DA2131"/>
      </a:accent6>
      <a:hlink>
        <a:srgbClr val="6E4EA5"/>
      </a:hlink>
      <a:folHlink>
        <a:srgbClr val="AC99C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A5BA7"/>
        </a:solidFill>
        <a:ln w="9525" cap="rnd" cmpd="sng" algn="ctr">
          <a:solidFill>
            <a:srgbClr val="1A5BA7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0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3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4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5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6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7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8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9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0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3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4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5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6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7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8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9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0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4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5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6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7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8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9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E44BBFEE55374C8A5AB0EA53ED154B" ma:contentTypeVersion="6" ma:contentTypeDescription="Create a new document." ma:contentTypeScope="" ma:versionID="e4c9fc2919ac8ef8faad2cc414dd0cce">
  <xsd:schema xmlns:xsd="http://www.w3.org/2001/XMLSchema" xmlns:xs="http://www.w3.org/2001/XMLSchema" xmlns:p="http://schemas.microsoft.com/office/2006/metadata/properties" xmlns:ns2="2c7955f9-1c3b-40f9-ae89-c02ea7ec4bb2" xmlns:ns3="7627ecdc-1ee0-474f-8748-8f2677614092" targetNamespace="http://schemas.microsoft.com/office/2006/metadata/properties" ma:root="true" ma:fieldsID="fb6da9faa626e1cd8e0f98822306ac74" ns2:_="" ns3:_="">
    <xsd:import namespace="2c7955f9-1c3b-40f9-ae89-c02ea7ec4bb2"/>
    <xsd:import namespace="7627ecdc-1ee0-474f-8748-8f26776140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7955f9-1c3b-40f9-ae89-c02ea7ec4b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27ecdc-1ee0-474f-8748-8f2677614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DcR_SlideID>4ec2166f-542f-4b85-8f3a-6c5a1a31f996</DcR_SlideID>
</file>

<file path=customXml/itemProps1.xml><?xml version="1.0" encoding="utf-8"?>
<ds:datastoreItem xmlns:ds="http://schemas.openxmlformats.org/officeDocument/2006/customXml" ds:itemID="{EE3F3A2F-0E91-40C0-A3DB-8E6249E94AA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5514A65-BA0C-4931-A70A-D3015C4981D4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F758730-1A62-4824-B67B-0DE69241A7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7955f9-1c3b-40f9-ae89-c02ea7ec4bb2"/>
    <ds:schemaRef ds:uri="7627ecdc-1ee0-474f-8748-8f26776140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660B4119-ADA0-4797-948F-E633FADE42F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0</TotalTime>
  <Words>623</Words>
  <Application>Microsoft Office PowerPoint</Application>
  <PresentationFormat>Widescreen</PresentationFormat>
  <Paragraphs>145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ptos</vt:lpstr>
      <vt:lpstr>Arial</vt:lpstr>
      <vt:lpstr>Trebuchet MS</vt:lpstr>
      <vt:lpstr>AR Connect Grid 16:9 - 22209</vt:lpstr>
      <vt:lpstr>think-cell Slide</vt:lpstr>
      <vt:lpstr>The Arkansas  BEAD Program</vt:lpstr>
      <vt:lpstr>Recall | Overview of ARConnect's approach to achieving 100% coverage</vt:lpstr>
      <vt:lpstr>Negotiations | Tranche-3 overview</vt:lpstr>
      <vt:lpstr>Tranche-3 |  Project area restrictions and rules of adjudication for T3</vt:lpstr>
      <vt:lpstr>Tranche-3 | Key differences between Tranche-2 and Tranche-3</vt:lpstr>
      <vt:lpstr>Tranche-3 | Tranche-3 deconfliction scenarios and adjudication resul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shley Hock</dc:creator>
  <cp:lastModifiedBy>Joseph, Tyler</cp:lastModifiedBy>
  <cp:revision>2</cp:revision>
  <dcterms:created xsi:type="dcterms:W3CDTF">2024-07-23T19:28:19Z</dcterms:created>
  <dcterms:modified xsi:type="dcterms:W3CDTF">2025-03-27T17:1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97ea9d-daff-4c91-a4f1-55d953dbb0fc_Enabled">
    <vt:lpwstr>true</vt:lpwstr>
  </property>
  <property fmtid="{D5CDD505-2E9C-101B-9397-08002B2CF9AE}" pid="3" name="MSIP_Label_7f97ea9d-daff-4c91-a4f1-55d953dbb0fc_SetDate">
    <vt:lpwstr>2024-07-23T19:28:30Z</vt:lpwstr>
  </property>
  <property fmtid="{D5CDD505-2E9C-101B-9397-08002B2CF9AE}" pid="4" name="MSIP_Label_7f97ea9d-daff-4c91-a4f1-55d953dbb0fc_Method">
    <vt:lpwstr>Standard</vt:lpwstr>
  </property>
  <property fmtid="{D5CDD505-2E9C-101B-9397-08002B2CF9AE}" pid="5" name="MSIP_Label_7f97ea9d-daff-4c91-a4f1-55d953dbb0fc_Name">
    <vt:lpwstr>Public</vt:lpwstr>
  </property>
  <property fmtid="{D5CDD505-2E9C-101B-9397-08002B2CF9AE}" pid="6" name="MSIP_Label_7f97ea9d-daff-4c91-a4f1-55d953dbb0fc_SiteId">
    <vt:lpwstr>58196b33-812d-4eb0-ad27-fc2dd9de53eb</vt:lpwstr>
  </property>
  <property fmtid="{D5CDD505-2E9C-101B-9397-08002B2CF9AE}" pid="7" name="MSIP_Label_7f97ea9d-daff-4c91-a4f1-55d953dbb0fc_ActionId">
    <vt:lpwstr>b5323118-9c7d-4736-b4be-75e5366fb950</vt:lpwstr>
  </property>
  <property fmtid="{D5CDD505-2E9C-101B-9397-08002B2CF9AE}" pid="8" name="MSIP_Label_7f97ea9d-daff-4c91-a4f1-55d953dbb0fc_ContentBits">
    <vt:lpwstr>0</vt:lpwstr>
  </property>
  <property fmtid="{D5CDD505-2E9C-101B-9397-08002B2CF9AE}" pid="9" name="MSIP_Label_b0d5c4f4-7a29-4385-b7a5-afbe2154ae6f_Enabled">
    <vt:lpwstr>true</vt:lpwstr>
  </property>
  <property fmtid="{D5CDD505-2E9C-101B-9397-08002B2CF9AE}" pid="10" name="MSIP_Label_b0d5c4f4-7a29-4385-b7a5-afbe2154ae6f_SetDate">
    <vt:lpwstr>2024-12-05T18:10:56Z</vt:lpwstr>
  </property>
  <property fmtid="{D5CDD505-2E9C-101B-9397-08002B2CF9AE}" pid="11" name="MSIP_Label_b0d5c4f4-7a29-4385-b7a5-afbe2154ae6f_Method">
    <vt:lpwstr>Standard</vt:lpwstr>
  </property>
  <property fmtid="{D5CDD505-2E9C-101B-9397-08002B2CF9AE}" pid="12" name="MSIP_Label_b0d5c4f4-7a29-4385-b7a5-afbe2154ae6f_Name">
    <vt:lpwstr>Confidential</vt:lpwstr>
  </property>
  <property fmtid="{D5CDD505-2E9C-101B-9397-08002B2CF9AE}" pid="13" name="MSIP_Label_b0d5c4f4-7a29-4385-b7a5-afbe2154ae6f_SiteId">
    <vt:lpwstr>2dfb2f0b-4d21-4268-9559-72926144c918</vt:lpwstr>
  </property>
  <property fmtid="{D5CDD505-2E9C-101B-9397-08002B2CF9AE}" pid="14" name="MSIP_Label_b0d5c4f4-7a29-4385-b7a5-afbe2154ae6f_ActionId">
    <vt:lpwstr>fa3f0815-86bb-4bcf-9ca1-7bfd0e14b159</vt:lpwstr>
  </property>
  <property fmtid="{D5CDD505-2E9C-101B-9397-08002B2CF9AE}" pid="15" name="MSIP_Label_b0d5c4f4-7a29-4385-b7a5-afbe2154ae6f_ContentBits">
    <vt:lpwstr>0</vt:lpwstr>
  </property>
  <property fmtid="{D5CDD505-2E9C-101B-9397-08002B2CF9AE}" pid="16" name="ContentTypeId">
    <vt:lpwstr>0x0101001EE44BBFEE55374C8A5AB0EA53ED154B</vt:lpwstr>
  </property>
</Properties>
</file>